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3" r:id="rId4"/>
    <p:sldMasterId id="2147483657" r:id="rId5"/>
    <p:sldMasterId id="2147483659" r:id="rId6"/>
  </p:sldMasterIdLst>
  <p:notesMasterIdLst>
    <p:notesMasterId r:id="rId42"/>
  </p:notesMasterIdLst>
  <p:sldIdLst>
    <p:sldId id="264" r:id="rId7"/>
    <p:sldId id="283" r:id="rId8"/>
    <p:sldId id="265" r:id="rId9"/>
    <p:sldId id="266" r:id="rId10"/>
    <p:sldId id="267" r:id="rId11"/>
    <p:sldId id="268" r:id="rId12"/>
    <p:sldId id="269" r:id="rId13"/>
    <p:sldId id="270" r:id="rId14"/>
    <p:sldId id="272" r:id="rId15"/>
    <p:sldId id="273" r:id="rId16"/>
    <p:sldId id="275" r:id="rId17"/>
    <p:sldId id="276" r:id="rId18"/>
    <p:sldId id="500" r:id="rId19"/>
    <p:sldId id="279" r:id="rId20"/>
    <p:sldId id="491" r:id="rId21"/>
    <p:sldId id="282" r:id="rId22"/>
    <p:sldId id="292" r:id="rId23"/>
    <p:sldId id="489" r:id="rId24"/>
    <p:sldId id="499" r:id="rId25"/>
    <p:sldId id="490" r:id="rId26"/>
    <p:sldId id="286" r:id="rId27"/>
    <p:sldId id="287" r:id="rId28"/>
    <p:sldId id="364" r:id="rId29"/>
    <p:sldId id="498" r:id="rId30"/>
    <p:sldId id="326" r:id="rId31"/>
    <p:sldId id="492" r:id="rId32"/>
    <p:sldId id="458" r:id="rId33"/>
    <p:sldId id="463" r:id="rId34"/>
    <p:sldId id="485" r:id="rId35"/>
    <p:sldId id="449" r:id="rId36"/>
    <p:sldId id="450" r:id="rId37"/>
    <p:sldId id="295" r:id="rId38"/>
    <p:sldId id="486" r:id="rId39"/>
    <p:sldId id="487" r:id="rId40"/>
    <p:sldId id="488" r:id="rId41"/>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8"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CED"/>
    <a:srgbClr val="333F4C"/>
    <a:srgbClr val="FF9E79"/>
    <a:srgbClr val="8FFAA1"/>
    <a:srgbClr val="F0F0F0"/>
    <a:srgbClr val="C7FCD0"/>
    <a:srgbClr val="F9FAFB"/>
    <a:srgbClr val="48596C"/>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295747-6DB6-4BAC-8CA9-0E4A8A571D22}" v="1" dt="2023-05-11T11:30:03.21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snapToObjects="1">
      <p:cViewPr varScale="1">
        <p:scale>
          <a:sx n="115" d="100"/>
          <a:sy n="115" d="100"/>
        </p:scale>
        <p:origin x="744" y="77"/>
      </p:cViewPr>
      <p:guideLst>
        <p:guide orient="horz" pos="278"/>
        <p:guide pos="3840"/>
      </p:guideLst>
    </p:cSldViewPr>
  </p:slideViewPr>
  <p:outlineViewPr>
    <p:cViewPr>
      <p:scale>
        <a:sx n="33" d="100"/>
        <a:sy n="33" d="100"/>
      </p:scale>
      <p:origin x="0" y="-814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ter Faber" userId="a9c5cdbe-6f0d-4839-84c6-85ac70dba8dc" providerId="ADAL" clId="{A7295747-6DB6-4BAC-8CA9-0E4A8A571D22}"/>
    <pc:docChg chg="custSel modSld">
      <pc:chgData name="Peter Faber" userId="a9c5cdbe-6f0d-4839-84c6-85ac70dba8dc" providerId="ADAL" clId="{A7295747-6DB6-4BAC-8CA9-0E4A8A571D22}" dt="2023-05-11T11:30:34.325" v="92" actId="20577"/>
      <pc:docMkLst>
        <pc:docMk/>
      </pc:docMkLst>
      <pc:sldChg chg="addSp delSp modSp mod">
        <pc:chgData name="Peter Faber" userId="a9c5cdbe-6f0d-4839-84c6-85ac70dba8dc" providerId="ADAL" clId="{A7295747-6DB6-4BAC-8CA9-0E4A8A571D22}" dt="2023-05-11T11:30:11.374" v="20" actId="1076"/>
        <pc:sldMkLst>
          <pc:docMk/>
          <pc:sldMk cId="400408477" sldId="275"/>
        </pc:sldMkLst>
        <pc:spChg chg="mod">
          <ac:chgData name="Peter Faber" userId="a9c5cdbe-6f0d-4839-84c6-85ac70dba8dc" providerId="ADAL" clId="{A7295747-6DB6-4BAC-8CA9-0E4A8A571D22}" dt="2023-05-03T10:30:30.932" v="12" actId="948"/>
          <ac:spMkLst>
            <pc:docMk/>
            <pc:sldMk cId="400408477" sldId="275"/>
            <ac:spMk id="6" creationId="{AF2CC3D8-67CC-408D-BCC5-DA090545ACA6}"/>
          </ac:spMkLst>
        </pc:spChg>
        <pc:picChg chg="del">
          <ac:chgData name="Peter Faber" userId="a9c5cdbe-6f0d-4839-84c6-85ac70dba8dc" providerId="ADAL" clId="{A7295747-6DB6-4BAC-8CA9-0E4A8A571D22}" dt="2023-05-11T11:29:00.573" v="13" actId="478"/>
          <ac:picMkLst>
            <pc:docMk/>
            <pc:sldMk cId="400408477" sldId="275"/>
            <ac:picMk id="3" creationId="{C3C88814-C15D-41B4-BC31-44C6C30F05D5}"/>
          </ac:picMkLst>
        </pc:picChg>
        <pc:picChg chg="add mod">
          <ac:chgData name="Peter Faber" userId="a9c5cdbe-6f0d-4839-84c6-85ac70dba8dc" providerId="ADAL" clId="{A7295747-6DB6-4BAC-8CA9-0E4A8A571D22}" dt="2023-05-11T11:30:11.374" v="20" actId="1076"/>
          <ac:picMkLst>
            <pc:docMk/>
            <pc:sldMk cId="400408477" sldId="275"/>
            <ac:picMk id="7" creationId="{00F72F25-EF3F-B1A5-3AE0-30FDC6F432AD}"/>
          </ac:picMkLst>
        </pc:picChg>
      </pc:sldChg>
      <pc:sldChg chg="modSp mod">
        <pc:chgData name="Peter Faber" userId="a9c5cdbe-6f0d-4839-84c6-85ac70dba8dc" providerId="ADAL" clId="{A7295747-6DB6-4BAC-8CA9-0E4A8A571D22}" dt="2023-05-11T11:30:34.325" v="92" actId="20577"/>
        <pc:sldMkLst>
          <pc:docMk/>
          <pc:sldMk cId="2376145592" sldId="500"/>
        </pc:sldMkLst>
        <pc:spChg chg="mod">
          <ac:chgData name="Peter Faber" userId="a9c5cdbe-6f0d-4839-84c6-85ac70dba8dc" providerId="ADAL" clId="{A7295747-6DB6-4BAC-8CA9-0E4A8A571D22}" dt="2023-05-11T11:30:34.325" v="92" actId="20577"/>
          <ac:spMkLst>
            <pc:docMk/>
            <pc:sldMk cId="2376145592" sldId="500"/>
            <ac:spMk id="8" creationId="{1E3AF374-6DFC-4C3C-A7FB-D9EEC954FA7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A629B3-3095-4F24-9423-573E57F5414F}" type="datetimeFigureOut">
              <a:rPr lang="de-AT" smtClean="0"/>
              <a:t>18.07.2023</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5A06EA-56FD-42EB-81AA-D3E0002B3B37}" type="slidenum">
              <a:rPr lang="de-AT" smtClean="0"/>
              <a:t>‹Nr.›</a:t>
            </a:fld>
            <a:endParaRPr lang="de-AT"/>
          </a:p>
        </p:txBody>
      </p:sp>
    </p:spTree>
    <p:extLst>
      <p:ext uri="{BB962C8B-B14F-4D97-AF65-F5344CB8AC3E}">
        <p14:creationId xmlns:p14="http://schemas.microsoft.com/office/powerpoint/2010/main" val="34173366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1</a:t>
            </a:fld>
            <a:endParaRPr lang="en-US" dirty="0"/>
          </a:p>
        </p:txBody>
      </p:sp>
    </p:spTree>
    <p:extLst>
      <p:ext uri="{BB962C8B-B14F-4D97-AF65-F5344CB8AC3E}">
        <p14:creationId xmlns:p14="http://schemas.microsoft.com/office/powerpoint/2010/main" val="10068594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0</a:t>
            </a:fld>
            <a:endParaRPr lang="en-US" dirty="0"/>
          </a:p>
        </p:txBody>
      </p:sp>
    </p:spTree>
    <p:extLst>
      <p:ext uri="{BB962C8B-B14F-4D97-AF65-F5344CB8AC3E}">
        <p14:creationId xmlns:p14="http://schemas.microsoft.com/office/powerpoint/2010/main" val="2837808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31</a:t>
            </a:fld>
            <a:endParaRPr lang="en-US" dirty="0"/>
          </a:p>
        </p:txBody>
      </p:sp>
    </p:spTree>
    <p:extLst>
      <p:ext uri="{BB962C8B-B14F-4D97-AF65-F5344CB8AC3E}">
        <p14:creationId xmlns:p14="http://schemas.microsoft.com/office/powerpoint/2010/main" val="54668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2</a:t>
            </a:fld>
            <a:endParaRPr lang="en-US" dirty="0"/>
          </a:p>
        </p:txBody>
      </p:sp>
    </p:spTree>
    <p:extLst>
      <p:ext uri="{BB962C8B-B14F-4D97-AF65-F5344CB8AC3E}">
        <p14:creationId xmlns:p14="http://schemas.microsoft.com/office/powerpoint/2010/main" val="2431744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3210851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4</a:t>
            </a:fld>
            <a:endParaRPr lang="en-US" dirty="0"/>
          </a:p>
        </p:txBody>
      </p:sp>
    </p:spTree>
    <p:extLst>
      <p:ext uri="{BB962C8B-B14F-4D97-AF65-F5344CB8AC3E}">
        <p14:creationId xmlns:p14="http://schemas.microsoft.com/office/powerpoint/2010/main" val="390511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1" name="Slide Image Placeholder 1"/>
          <p:cNvSpPr>
            <a:spLocks noGrp="1" noRot="1" noChangeAspect="1"/>
          </p:cNvSpPr>
          <p:nvPr>
            <p:ph type="sldImg"/>
          </p:nvPr>
        </p:nvSpPr>
        <p:spPr bwMode="auto">
          <a:noFill/>
          <a:ln>
            <a:solidFill>
              <a:srgbClr val="000000"/>
            </a:solidFill>
            <a:miter lim="800000"/>
            <a:headEnd/>
            <a:tailEnd/>
          </a:ln>
        </p:spPr>
      </p:sp>
      <p:sp>
        <p:nvSpPr>
          <p:cNvPr id="573442" name="Notes Placeholder 2"/>
          <p:cNvSpPr>
            <a:spLocks noGrp="1"/>
          </p:cNvSpPr>
          <p:nvPr>
            <p:ph type="body" idx="1"/>
          </p:nvPr>
        </p:nvSpPr>
        <p:spPr>
          <a:noFill/>
          <a:ln/>
        </p:spPr>
        <p:txBody>
          <a:bodyPr/>
          <a:lstStyle/>
          <a:p>
            <a:endParaRPr lang="en-US"/>
          </a:p>
        </p:txBody>
      </p:sp>
      <p:sp>
        <p:nvSpPr>
          <p:cNvPr id="573443" name="Slide Number Placeholder 3"/>
          <p:cNvSpPr>
            <a:spLocks noGrp="1"/>
          </p:cNvSpPr>
          <p:nvPr>
            <p:ph type="sldNum" sz="quarter" idx="5"/>
          </p:nvPr>
        </p:nvSpPr>
        <p:spPr>
          <a:noFill/>
        </p:spPr>
        <p:txBody>
          <a:bodyPr/>
          <a:lstStyle/>
          <a:p>
            <a:fld id="{14DA8D5D-C495-41FE-89D8-2CC16B09AF26}" type="slidenum">
              <a:rPr lang="en-US" smtClean="0"/>
              <a:pPr/>
              <a:t>2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41" name="Slide Image Placeholder 1"/>
          <p:cNvSpPr>
            <a:spLocks noGrp="1" noRot="1" noChangeAspect="1"/>
          </p:cNvSpPr>
          <p:nvPr>
            <p:ph type="sldImg"/>
          </p:nvPr>
        </p:nvSpPr>
        <p:spPr bwMode="auto">
          <a:noFill/>
          <a:ln>
            <a:solidFill>
              <a:srgbClr val="000000"/>
            </a:solidFill>
            <a:miter lim="800000"/>
            <a:headEnd/>
            <a:tailEnd/>
          </a:ln>
        </p:spPr>
      </p:sp>
      <p:sp>
        <p:nvSpPr>
          <p:cNvPr id="573442" name="Notes Placeholder 2"/>
          <p:cNvSpPr>
            <a:spLocks noGrp="1"/>
          </p:cNvSpPr>
          <p:nvPr>
            <p:ph type="body" idx="1"/>
          </p:nvPr>
        </p:nvSpPr>
        <p:spPr>
          <a:noFill/>
          <a:ln/>
        </p:spPr>
        <p:txBody>
          <a:bodyPr/>
          <a:lstStyle/>
          <a:p>
            <a:endParaRPr lang="en-US"/>
          </a:p>
        </p:txBody>
      </p:sp>
      <p:sp>
        <p:nvSpPr>
          <p:cNvPr id="573443" name="Slide Number Placeholder 3"/>
          <p:cNvSpPr>
            <a:spLocks noGrp="1"/>
          </p:cNvSpPr>
          <p:nvPr>
            <p:ph type="sldNum" sz="quarter" idx="5"/>
          </p:nvPr>
        </p:nvSpPr>
        <p:spPr>
          <a:noFill/>
        </p:spPr>
        <p:txBody>
          <a:bodyPr/>
          <a:lstStyle/>
          <a:p>
            <a:fld id="{14DA8D5D-C495-41FE-89D8-2CC16B09AF26}" type="slidenum">
              <a:rPr lang="en-US" smtClean="0"/>
              <a:pPr/>
              <a:t>26</a:t>
            </a:fld>
            <a:endParaRPr lang="en-US"/>
          </a:p>
        </p:txBody>
      </p:sp>
    </p:spTree>
    <p:extLst>
      <p:ext uri="{BB962C8B-B14F-4D97-AF65-F5344CB8AC3E}">
        <p14:creationId xmlns:p14="http://schemas.microsoft.com/office/powerpoint/2010/main" val="910247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7</a:t>
            </a:fld>
            <a:endParaRPr lang="en-US" dirty="0"/>
          </a:p>
        </p:txBody>
      </p:sp>
    </p:spTree>
    <p:extLst>
      <p:ext uri="{BB962C8B-B14F-4D97-AF65-F5344CB8AC3E}">
        <p14:creationId xmlns:p14="http://schemas.microsoft.com/office/powerpoint/2010/main" val="1729867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8</a:t>
            </a:fld>
            <a:endParaRPr lang="en-US" dirty="0"/>
          </a:p>
        </p:txBody>
      </p:sp>
    </p:spTree>
    <p:extLst>
      <p:ext uri="{BB962C8B-B14F-4D97-AF65-F5344CB8AC3E}">
        <p14:creationId xmlns:p14="http://schemas.microsoft.com/office/powerpoint/2010/main" val="3208428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9</a:t>
            </a:fld>
            <a:endParaRPr lang="en-US" dirty="0"/>
          </a:p>
        </p:txBody>
      </p:sp>
    </p:spTree>
    <p:extLst>
      <p:ext uri="{BB962C8B-B14F-4D97-AF65-F5344CB8AC3E}">
        <p14:creationId xmlns:p14="http://schemas.microsoft.com/office/powerpoint/2010/main" val="42886103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2">
    <p:spTree>
      <p:nvGrpSpPr>
        <p:cNvPr id="1" name=""/>
        <p:cNvGrpSpPr/>
        <p:nvPr/>
      </p:nvGrpSpPr>
      <p:grpSpPr>
        <a:xfrm>
          <a:off x="0" y="0"/>
          <a:ext cx="0" cy="0"/>
          <a:chOff x="0" y="0"/>
          <a:chExt cx="0" cy="0"/>
        </a:xfrm>
      </p:grpSpPr>
      <p:sp>
        <p:nvSpPr>
          <p:cNvPr id="7" name="Titelplatzhalter 12">
            <a:extLst>
              <a:ext uri="{FF2B5EF4-FFF2-40B4-BE49-F238E27FC236}">
                <a16:creationId xmlns:a16="http://schemas.microsoft.com/office/drawing/2014/main" id="{AB535C62-D65B-0F4E-87A6-48FB909E5B4F}"/>
              </a:ext>
            </a:extLst>
          </p:cNvPr>
          <p:cNvSpPr>
            <a:spLocks noGrp="1"/>
          </p:cNvSpPr>
          <p:nvPr>
            <p:ph type="title"/>
          </p:nvPr>
        </p:nvSpPr>
        <p:spPr>
          <a:xfrm>
            <a:off x="720000" y="1041400"/>
            <a:ext cx="9550400" cy="3111062"/>
          </a:xfrm>
          <a:prstGeom prst="rect">
            <a:avLst/>
          </a:prstGeom>
        </p:spPr>
        <p:txBody>
          <a:bodyPr vert="horz" lIns="0" tIns="0" rIns="0" bIns="0" rtlCol="0" anchor="ctr">
            <a:noAutofit/>
          </a:bodyPr>
          <a:lstStyle/>
          <a:p>
            <a:r>
              <a:rPr lang="de-DE"/>
              <a:t>Mastertitelformat bearbeiten</a:t>
            </a:r>
            <a:endParaRPr lang="de-DE" dirty="0"/>
          </a:p>
        </p:txBody>
      </p:sp>
    </p:spTree>
    <p:extLst>
      <p:ext uri="{BB962C8B-B14F-4D97-AF65-F5344CB8AC3E}">
        <p14:creationId xmlns:p14="http://schemas.microsoft.com/office/powerpoint/2010/main" val="14425652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ext_und_Bild_2Bilder">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D7CAE102-2A47-4B42-9833-D34E504D5100}"/>
              </a:ext>
            </a:extLst>
          </p:cNvPr>
          <p:cNvSpPr>
            <a:spLocks noGrp="1"/>
          </p:cNvSpPr>
          <p:nvPr>
            <p:ph type="pic" sz="quarter" idx="12"/>
          </p:nvPr>
        </p:nvSpPr>
        <p:spPr>
          <a:xfrm>
            <a:off x="5819775" y="1252538"/>
            <a:ext cx="4984750" cy="3324225"/>
          </a:xfrm>
          <a:prstGeom prst="rect">
            <a:avLst/>
          </a:prstGeom>
        </p:spPr>
        <p:txBody>
          <a:bodyPr/>
          <a:lstStyle/>
          <a:p>
            <a:endParaRPr lang="de-DE"/>
          </a:p>
        </p:txBody>
      </p:sp>
      <p:sp>
        <p:nvSpPr>
          <p:cNvPr id="12" name="Bildplatzhalter 11">
            <a:extLst>
              <a:ext uri="{FF2B5EF4-FFF2-40B4-BE49-F238E27FC236}">
                <a16:creationId xmlns:a16="http://schemas.microsoft.com/office/drawing/2014/main" id="{B9A92047-E308-3242-B5AF-A2F6689D6055}"/>
              </a:ext>
            </a:extLst>
          </p:cNvPr>
          <p:cNvSpPr>
            <a:spLocks noGrp="1"/>
          </p:cNvSpPr>
          <p:nvPr>
            <p:ph type="pic" sz="quarter" idx="13"/>
          </p:nvPr>
        </p:nvSpPr>
        <p:spPr>
          <a:xfrm>
            <a:off x="8054975" y="3911600"/>
            <a:ext cx="3584575" cy="2389188"/>
          </a:xfrm>
          <a:prstGeom prst="rect">
            <a:avLst/>
          </a:prstGeom>
        </p:spPr>
        <p:txBody>
          <a:bodyPr/>
          <a:lstStyle/>
          <a:p>
            <a:endParaRPr lang="de-DE"/>
          </a:p>
        </p:txBody>
      </p:sp>
      <p:sp>
        <p:nvSpPr>
          <p:cNvPr id="2" name="Titel 1">
            <a:extLst>
              <a:ext uri="{FF2B5EF4-FFF2-40B4-BE49-F238E27FC236}">
                <a16:creationId xmlns:a16="http://schemas.microsoft.com/office/drawing/2014/main" id="{ECE7A4A6-79B0-2B4E-9EA0-CAC32A482A2B}"/>
              </a:ext>
            </a:extLst>
          </p:cNvPr>
          <p:cNvSpPr>
            <a:spLocks noGrp="1"/>
          </p:cNvSpPr>
          <p:nvPr>
            <p:ph type="title"/>
          </p:nvPr>
        </p:nvSpPr>
        <p:spPr/>
        <p:txBody>
          <a:bodyPr/>
          <a:lstStyle/>
          <a:p>
            <a:r>
              <a:rPr lang="de-DE"/>
              <a:t>Mastertitelformat bearbeiten</a:t>
            </a:r>
          </a:p>
        </p:txBody>
      </p:sp>
      <p:sp>
        <p:nvSpPr>
          <p:cNvPr id="7" name="Textplatzhalter 5">
            <a:extLst>
              <a:ext uri="{FF2B5EF4-FFF2-40B4-BE49-F238E27FC236}">
                <a16:creationId xmlns:a16="http://schemas.microsoft.com/office/drawing/2014/main" id="{0E9E238B-33E2-E54C-8F20-49C091A4D9FB}"/>
              </a:ext>
            </a:extLst>
          </p:cNvPr>
          <p:cNvSpPr>
            <a:spLocks noGrp="1"/>
          </p:cNvSpPr>
          <p:nvPr>
            <p:ph type="body" sz="quarter" idx="10"/>
          </p:nvPr>
        </p:nvSpPr>
        <p:spPr>
          <a:xfrm>
            <a:off x="804421" y="1854584"/>
            <a:ext cx="4756409" cy="1564990"/>
          </a:xfrm>
          <a:prstGeom prst="rect">
            <a:avLst/>
          </a:prstGeom>
        </p:spPr>
        <p:txBody>
          <a:bodyPr/>
          <a:lstStyle>
            <a:lvl1pPr marL="0" indent="0">
              <a:buNone/>
              <a:defRPr sz="4800">
                <a:latin typeface="Century" panose="02040604050505020304" pitchFamily="18" charset="0"/>
              </a:defRPr>
            </a:lvl1pPr>
          </a:lstStyle>
          <a:p>
            <a:pPr lvl="0"/>
            <a:r>
              <a:rPr lang="de-DE" dirty="0"/>
              <a:t>Mastertextformat bearbeiten</a:t>
            </a:r>
          </a:p>
        </p:txBody>
      </p:sp>
      <p:sp>
        <p:nvSpPr>
          <p:cNvPr id="8" name="Textplatzhalter 9">
            <a:extLst>
              <a:ext uri="{FF2B5EF4-FFF2-40B4-BE49-F238E27FC236}">
                <a16:creationId xmlns:a16="http://schemas.microsoft.com/office/drawing/2014/main" id="{54DD29D8-91C3-0540-B48B-D7A98020B361}"/>
              </a:ext>
            </a:extLst>
          </p:cNvPr>
          <p:cNvSpPr>
            <a:spLocks noGrp="1"/>
          </p:cNvSpPr>
          <p:nvPr>
            <p:ph type="body" sz="quarter" idx="11"/>
          </p:nvPr>
        </p:nvSpPr>
        <p:spPr>
          <a:xfrm>
            <a:off x="804421" y="3697035"/>
            <a:ext cx="4756410" cy="1758818"/>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4" name="Fußzeilenplatzhalter 3">
            <a:extLst>
              <a:ext uri="{FF2B5EF4-FFF2-40B4-BE49-F238E27FC236}">
                <a16:creationId xmlns:a16="http://schemas.microsoft.com/office/drawing/2014/main" id="{978C460E-0F6B-4C98-96E7-3E6F0D0BD277}"/>
              </a:ext>
            </a:extLst>
          </p:cNvPr>
          <p:cNvSpPr>
            <a:spLocks noGrp="1"/>
          </p:cNvSpPr>
          <p:nvPr>
            <p:ph type="ftr" sz="quarter" idx="15"/>
          </p:nvPr>
        </p:nvSpPr>
        <p:spPr/>
        <p:txBody>
          <a:bodyPr/>
          <a:lstStyle/>
          <a:p>
            <a:endParaRPr lang="de-AT"/>
          </a:p>
        </p:txBody>
      </p:sp>
      <p:sp>
        <p:nvSpPr>
          <p:cNvPr id="5" name="Foliennummernplatzhalter 4">
            <a:extLst>
              <a:ext uri="{FF2B5EF4-FFF2-40B4-BE49-F238E27FC236}">
                <a16:creationId xmlns:a16="http://schemas.microsoft.com/office/drawing/2014/main" id="{4EA9A11E-2FBF-4116-902F-EEE6F9270B0A}"/>
              </a:ext>
            </a:extLst>
          </p:cNvPr>
          <p:cNvSpPr>
            <a:spLocks noGrp="1"/>
          </p:cNvSpPr>
          <p:nvPr>
            <p:ph type="sldNum" sz="quarter" idx="16"/>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2789776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ext_und_Bild_3Bilder">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B33107B7-DE70-FA44-BFA3-6FA9721F8BA8}"/>
              </a:ext>
            </a:extLst>
          </p:cNvPr>
          <p:cNvSpPr>
            <a:spLocks noGrp="1"/>
          </p:cNvSpPr>
          <p:nvPr>
            <p:ph type="pic" sz="quarter" idx="12"/>
          </p:nvPr>
        </p:nvSpPr>
        <p:spPr>
          <a:xfrm>
            <a:off x="5819775" y="1295400"/>
            <a:ext cx="3584575" cy="2390775"/>
          </a:xfrm>
          <a:prstGeom prst="rect">
            <a:avLst/>
          </a:prstGeom>
        </p:spPr>
        <p:txBody>
          <a:bodyPr/>
          <a:lstStyle/>
          <a:p>
            <a:endParaRPr lang="de-DE"/>
          </a:p>
        </p:txBody>
      </p:sp>
      <p:sp>
        <p:nvSpPr>
          <p:cNvPr id="13" name="Bildplatzhalter 12">
            <a:extLst>
              <a:ext uri="{FF2B5EF4-FFF2-40B4-BE49-F238E27FC236}">
                <a16:creationId xmlns:a16="http://schemas.microsoft.com/office/drawing/2014/main" id="{772A8ED7-79F7-174B-8A49-E729E5431374}"/>
              </a:ext>
            </a:extLst>
          </p:cNvPr>
          <p:cNvSpPr>
            <a:spLocks noGrp="1"/>
          </p:cNvSpPr>
          <p:nvPr>
            <p:ph type="pic" sz="quarter" idx="13"/>
          </p:nvPr>
        </p:nvSpPr>
        <p:spPr>
          <a:xfrm>
            <a:off x="5819775" y="3814763"/>
            <a:ext cx="3584575" cy="2389187"/>
          </a:xfrm>
          <a:prstGeom prst="rect">
            <a:avLst/>
          </a:prstGeom>
        </p:spPr>
        <p:txBody>
          <a:bodyPr/>
          <a:lstStyle/>
          <a:p>
            <a:endParaRPr lang="de-DE"/>
          </a:p>
        </p:txBody>
      </p:sp>
      <p:sp>
        <p:nvSpPr>
          <p:cNvPr id="15" name="Bildplatzhalter 14">
            <a:extLst>
              <a:ext uri="{FF2B5EF4-FFF2-40B4-BE49-F238E27FC236}">
                <a16:creationId xmlns:a16="http://schemas.microsoft.com/office/drawing/2014/main" id="{05242D49-AEC4-A84D-B729-38ED6FA4AEDF}"/>
              </a:ext>
            </a:extLst>
          </p:cNvPr>
          <p:cNvSpPr>
            <a:spLocks noGrp="1"/>
          </p:cNvSpPr>
          <p:nvPr>
            <p:ph type="pic" sz="quarter" idx="14"/>
          </p:nvPr>
        </p:nvSpPr>
        <p:spPr>
          <a:xfrm>
            <a:off x="9517063" y="1295400"/>
            <a:ext cx="2674937" cy="4908300"/>
          </a:xfrm>
          <a:prstGeom prst="rect">
            <a:avLst/>
          </a:prstGeom>
        </p:spPr>
        <p:txBody>
          <a:bodyPr/>
          <a:lstStyle/>
          <a:p>
            <a:endParaRPr lang="de-DE"/>
          </a:p>
        </p:txBody>
      </p:sp>
      <p:sp>
        <p:nvSpPr>
          <p:cNvPr id="2" name="Titel 1">
            <a:extLst>
              <a:ext uri="{FF2B5EF4-FFF2-40B4-BE49-F238E27FC236}">
                <a16:creationId xmlns:a16="http://schemas.microsoft.com/office/drawing/2014/main" id="{015E18F6-0880-2541-B91B-DE3705C3AC5B}"/>
              </a:ext>
            </a:extLst>
          </p:cNvPr>
          <p:cNvSpPr>
            <a:spLocks noGrp="1"/>
          </p:cNvSpPr>
          <p:nvPr>
            <p:ph type="title"/>
          </p:nvPr>
        </p:nvSpPr>
        <p:spPr/>
        <p:txBody>
          <a:bodyPr/>
          <a:lstStyle/>
          <a:p>
            <a:r>
              <a:rPr lang="de-DE"/>
              <a:t>Mastertitelformat bearbeiten</a:t>
            </a:r>
          </a:p>
        </p:txBody>
      </p:sp>
      <p:sp>
        <p:nvSpPr>
          <p:cNvPr id="8" name="Textplatzhalter 5">
            <a:extLst>
              <a:ext uri="{FF2B5EF4-FFF2-40B4-BE49-F238E27FC236}">
                <a16:creationId xmlns:a16="http://schemas.microsoft.com/office/drawing/2014/main" id="{6A957AFD-EB4F-5541-8EB6-2B0D8385C43E}"/>
              </a:ext>
            </a:extLst>
          </p:cNvPr>
          <p:cNvSpPr>
            <a:spLocks noGrp="1"/>
          </p:cNvSpPr>
          <p:nvPr>
            <p:ph type="body" sz="quarter" idx="10"/>
          </p:nvPr>
        </p:nvSpPr>
        <p:spPr>
          <a:xfrm>
            <a:off x="804421" y="1854584"/>
            <a:ext cx="4756409" cy="1564990"/>
          </a:xfrm>
          <a:prstGeom prst="rect">
            <a:avLst/>
          </a:prstGeom>
        </p:spPr>
        <p:txBody>
          <a:bodyPr/>
          <a:lstStyle>
            <a:lvl1pPr marL="0" indent="0">
              <a:buNone/>
              <a:defRPr sz="4800">
                <a:latin typeface="Century" panose="02040604050505020304" pitchFamily="18" charset="0"/>
              </a:defRPr>
            </a:lvl1pPr>
          </a:lstStyle>
          <a:p>
            <a:pPr lvl="0"/>
            <a:r>
              <a:rPr lang="de-DE" dirty="0"/>
              <a:t>Mastertextformat bearbeiten</a:t>
            </a:r>
          </a:p>
        </p:txBody>
      </p:sp>
      <p:sp>
        <p:nvSpPr>
          <p:cNvPr id="9" name="Textplatzhalter 9">
            <a:extLst>
              <a:ext uri="{FF2B5EF4-FFF2-40B4-BE49-F238E27FC236}">
                <a16:creationId xmlns:a16="http://schemas.microsoft.com/office/drawing/2014/main" id="{DB058C8E-1EE0-B04C-89B6-0CE24310F48D}"/>
              </a:ext>
            </a:extLst>
          </p:cNvPr>
          <p:cNvSpPr>
            <a:spLocks noGrp="1"/>
          </p:cNvSpPr>
          <p:nvPr>
            <p:ph type="body" sz="quarter" idx="11"/>
          </p:nvPr>
        </p:nvSpPr>
        <p:spPr>
          <a:xfrm>
            <a:off x="804421" y="3697035"/>
            <a:ext cx="4756410" cy="1758818"/>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4" name="Fußzeilenplatzhalter 3">
            <a:extLst>
              <a:ext uri="{FF2B5EF4-FFF2-40B4-BE49-F238E27FC236}">
                <a16:creationId xmlns:a16="http://schemas.microsoft.com/office/drawing/2014/main" id="{C6E64CBD-A06C-489A-AE62-4C48D6F22044}"/>
              </a:ext>
            </a:extLst>
          </p:cNvPr>
          <p:cNvSpPr>
            <a:spLocks noGrp="1"/>
          </p:cNvSpPr>
          <p:nvPr>
            <p:ph type="ftr" sz="quarter" idx="16"/>
          </p:nvPr>
        </p:nvSpPr>
        <p:spPr/>
        <p:txBody>
          <a:bodyPr/>
          <a:lstStyle/>
          <a:p>
            <a:endParaRPr lang="de-AT"/>
          </a:p>
        </p:txBody>
      </p:sp>
      <p:sp>
        <p:nvSpPr>
          <p:cNvPr id="5" name="Foliennummernplatzhalter 4">
            <a:extLst>
              <a:ext uri="{FF2B5EF4-FFF2-40B4-BE49-F238E27FC236}">
                <a16:creationId xmlns:a16="http://schemas.microsoft.com/office/drawing/2014/main" id="{45049816-FB74-4ED6-A45B-D932D669027C}"/>
              </a:ext>
            </a:extLst>
          </p:cNvPr>
          <p:cNvSpPr>
            <a:spLocks noGrp="1"/>
          </p:cNvSpPr>
          <p:nvPr>
            <p:ph type="sldNum" sz="quarter" idx="17"/>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4002245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Bild_Textbox_grün">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E9FBB140-8FB9-2B4A-BAF1-CDDF0E801513}"/>
              </a:ext>
            </a:extLst>
          </p:cNvPr>
          <p:cNvSpPr>
            <a:spLocks noGrp="1"/>
          </p:cNvSpPr>
          <p:nvPr>
            <p:ph type="body" sz="quarter" idx="12"/>
          </p:nvPr>
        </p:nvSpPr>
        <p:spPr>
          <a:xfrm>
            <a:off x="6037008" y="4548015"/>
            <a:ext cx="5641601" cy="1182687"/>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8" name="Bildplatzhalter 7">
            <a:extLst>
              <a:ext uri="{FF2B5EF4-FFF2-40B4-BE49-F238E27FC236}">
                <a16:creationId xmlns:a16="http://schemas.microsoft.com/office/drawing/2014/main" id="{43DB7AEA-F4AD-2548-B710-330298920F47}"/>
              </a:ext>
            </a:extLst>
          </p:cNvPr>
          <p:cNvSpPr>
            <a:spLocks noGrp="1"/>
          </p:cNvSpPr>
          <p:nvPr>
            <p:ph type="pic" sz="quarter" idx="10"/>
          </p:nvPr>
        </p:nvSpPr>
        <p:spPr>
          <a:xfrm>
            <a:off x="838200" y="1420813"/>
            <a:ext cx="4824413" cy="4621212"/>
          </a:xfrm>
          <a:prstGeom prst="rect">
            <a:avLst/>
          </a:prstGeom>
        </p:spPr>
        <p:txBody>
          <a:bodyPr/>
          <a:lstStyle/>
          <a:p>
            <a:endParaRPr lang="de-DE"/>
          </a:p>
        </p:txBody>
      </p:sp>
      <p:sp>
        <p:nvSpPr>
          <p:cNvPr id="2" name="Titel 1">
            <a:extLst>
              <a:ext uri="{FF2B5EF4-FFF2-40B4-BE49-F238E27FC236}">
                <a16:creationId xmlns:a16="http://schemas.microsoft.com/office/drawing/2014/main" id="{68B68538-3EDC-7542-9397-C719A4D8B287}"/>
              </a:ext>
            </a:extLst>
          </p:cNvPr>
          <p:cNvSpPr>
            <a:spLocks noGrp="1"/>
          </p:cNvSpPr>
          <p:nvPr>
            <p:ph type="title"/>
          </p:nvPr>
        </p:nvSpPr>
        <p:spPr/>
        <p:txBody>
          <a:bodyPr/>
          <a:lstStyle/>
          <a:p>
            <a:r>
              <a:rPr lang="de-DE"/>
              <a:t>Mastertitelformat bearbeiten</a:t>
            </a:r>
          </a:p>
        </p:txBody>
      </p:sp>
      <p:sp>
        <p:nvSpPr>
          <p:cNvPr id="4" name="Rechteck 3">
            <a:extLst>
              <a:ext uri="{FF2B5EF4-FFF2-40B4-BE49-F238E27FC236}">
                <a16:creationId xmlns:a16="http://schemas.microsoft.com/office/drawing/2014/main" id="{D59B9844-16DD-6145-8F86-F70A98AA6A2C}"/>
              </a:ext>
            </a:extLst>
          </p:cNvPr>
          <p:cNvSpPr/>
          <p:nvPr userDrawn="1"/>
        </p:nvSpPr>
        <p:spPr>
          <a:xfrm>
            <a:off x="4970033" y="1654856"/>
            <a:ext cx="3388659" cy="2581836"/>
          </a:xfrm>
          <a:prstGeom prst="rect">
            <a:avLst/>
          </a:prstGeom>
          <a:solidFill>
            <a:srgbClr val="8FFA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Microsoft Sans Serif" panose="020B0604020202020204" pitchFamily="34" charset="0"/>
            </a:endParaRPr>
          </a:p>
        </p:txBody>
      </p:sp>
      <p:sp>
        <p:nvSpPr>
          <p:cNvPr id="10" name="Textplatzhalter 9">
            <a:extLst>
              <a:ext uri="{FF2B5EF4-FFF2-40B4-BE49-F238E27FC236}">
                <a16:creationId xmlns:a16="http://schemas.microsoft.com/office/drawing/2014/main" id="{2068EB76-DAF5-5740-B241-1413AE72C694}"/>
              </a:ext>
            </a:extLst>
          </p:cNvPr>
          <p:cNvSpPr>
            <a:spLocks noGrp="1"/>
          </p:cNvSpPr>
          <p:nvPr>
            <p:ph type="body" sz="quarter" idx="11"/>
          </p:nvPr>
        </p:nvSpPr>
        <p:spPr>
          <a:xfrm>
            <a:off x="5118100" y="1814052"/>
            <a:ext cx="3081338" cy="2270586"/>
          </a:xfrm>
          <a:prstGeom prst="rect">
            <a:avLst/>
          </a:prstGeom>
        </p:spPr>
        <p:txBody>
          <a:bodyPr anchor="ct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5" name="Fußzeilenplatzhalter 4">
            <a:extLst>
              <a:ext uri="{FF2B5EF4-FFF2-40B4-BE49-F238E27FC236}">
                <a16:creationId xmlns:a16="http://schemas.microsoft.com/office/drawing/2014/main" id="{89F42E5E-139C-454F-B9A1-55102767449F}"/>
              </a:ext>
            </a:extLst>
          </p:cNvPr>
          <p:cNvSpPr>
            <a:spLocks noGrp="1"/>
          </p:cNvSpPr>
          <p:nvPr>
            <p:ph type="ftr" sz="quarter" idx="14"/>
          </p:nvPr>
        </p:nvSpPr>
        <p:spPr/>
        <p:txBody>
          <a:bodyPr/>
          <a:lstStyle/>
          <a:p>
            <a:endParaRPr lang="de-AT"/>
          </a:p>
        </p:txBody>
      </p:sp>
      <p:sp>
        <p:nvSpPr>
          <p:cNvPr id="6" name="Foliennummernplatzhalter 5">
            <a:extLst>
              <a:ext uri="{FF2B5EF4-FFF2-40B4-BE49-F238E27FC236}">
                <a16:creationId xmlns:a16="http://schemas.microsoft.com/office/drawing/2014/main" id="{B1318350-54E7-4085-AE0F-62D1BF9EDE96}"/>
              </a:ext>
            </a:extLst>
          </p:cNvPr>
          <p:cNvSpPr>
            <a:spLocks noGrp="1"/>
          </p:cNvSpPr>
          <p:nvPr>
            <p:ph type="sldNum" sz="quarter" idx="15"/>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544747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62A45-2ACC-3B4F-A2A6-707A82BDF060}"/>
              </a:ext>
            </a:extLst>
          </p:cNvPr>
          <p:cNvSpPr>
            <a:spLocks noGrp="1"/>
          </p:cNvSpPr>
          <p:nvPr>
            <p:ph type="title"/>
          </p:nvPr>
        </p:nvSpPr>
        <p:spPr/>
        <p:txBody>
          <a:bodyPr/>
          <a:lstStyle/>
          <a:p>
            <a:r>
              <a:rPr lang="de-DE" dirty="0"/>
              <a:t>Mastertitelformat bearbeiten</a:t>
            </a:r>
          </a:p>
        </p:txBody>
      </p:sp>
      <p:sp>
        <p:nvSpPr>
          <p:cNvPr id="4" name="Fußzeilenplatzhalter 3">
            <a:extLst>
              <a:ext uri="{FF2B5EF4-FFF2-40B4-BE49-F238E27FC236}">
                <a16:creationId xmlns:a16="http://schemas.microsoft.com/office/drawing/2014/main" id="{57C4DC8D-810C-42DD-8D0D-3F1A5B96BB3C}"/>
              </a:ext>
            </a:extLst>
          </p:cNvPr>
          <p:cNvSpPr>
            <a:spLocks noGrp="1"/>
          </p:cNvSpPr>
          <p:nvPr>
            <p:ph type="ftr" sz="quarter" idx="12"/>
          </p:nvPr>
        </p:nvSpPr>
        <p:spPr/>
        <p:txBody>
          <a:bodyPr/>
          <a:lstStyle/>
          <a:p>
            <a:endParaRPr lang="de-AT"/>
          </a:p>
        </p:txBody>
      </p:sp>
      <p:sp>
        <p:nvSpPr>
          <p:cNvPr id="5" name="Foliennummernplatzhalter 4">
            <a:extLst>
              <a:ext uri="{FF2B5EF4-FFF2-40B4-BE49-F238E27FC236}">
                <a16:creationId xmlns:a16="http://schemas.microsoft.com/office/drawing/2014/main" id="{661BD7B4-B454-45CD-88A2-F66FD90B84DE}"/>
              </a:ext>
            </a:extLst>
          </p:cNvPr>
          <p:cNvSpPr>
            <a:spLocks noGrp="1"/>
          </p:cNvSpPr>
          <p:nvPr>
            <p:ph type="sldNum" sz="quarter" idx="13"/>
          </p:nvPr>
        </p:nvSpPr>
        <p:spPr/>
        <p:txBody>
          <a:bodyPr/>
          <a:lstStyle/>
          <a:p>
            <a:fld id="{BA30C15F-51C3-47A6-B763-2B0929D5DF4D}" type="slidenum">
              <a:rPr lang="de-AT" smtClean="0"/>
              <a:t>‹Nr.›</a:t>
            </a:fld>
            <a:endParaRPr lang="de-AT"/>
          </a:p>
        </p:txBody>
      </p:sp>
      <p:sp>
        <p:nvSpPr>
          <p:cNvPr id="6" name="Textplatzhalter 5">
            <a:extLst>
              <a:ext uri="{FF2B5EF4-FFF2-40B4-BE49-F238E27FC236}">
                <a16:creationId xmlns:a16="http://schemas.microsoft.com/office/drawing/2014/main" id="{D4E885BF-267B-4A98-B24C-472E61AFBED6}"/>
              </a:ext>
            </a:extLst>
          </p:cNvPr>
          <p:cNvSpPr>
            <a:spLocks noGrp="1"/>
          </p:cNvSpPr>
          <p:nvPr>
            <p:ph type="body" sz="quarter" idx="14"/>
          </p:nvPr>
        </p:nvSpPr>
        <p:spPr>
          <a:xfrm>
            <a:off x="838200" y="1266825"/>
            <a:ext cx="10515600" cy="4924425"/>
          </a:xfrm>
          <a:prstGeom prst="rect">
            <a:avLst/>
          </a:prstGeom>
        </p:spPr>
        <p:txBody>
          <a:bodyPr/>
          <a:lstStyle>
            <a:lvl1pPr marL="0" indent="0">
              <a:buNone/>
              <a:defRPr/>
            </a:lvl1pPr>
          </a:lstStyle>
          <a:p>
            <a:pPr lvl="0"/>
            <a:r>
              <a:rPr lang="de-DE" dirty="0"/>
              <a:t>Mastertextformat bearbeiten</a:t>
            </a:r>
          </a:p>
        </p:txBody>
      </p:sp>
    </p:spTree>
    <p:extLst>
      <p:ext uri="{BB962C8B-B14F-4D97-AF65-F5344CB8AC3E}">
        <p14:creationId xmlns:p14="http://schemas.microsoft.com/office/powerpoint/2010/main" val="402433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Benutzerdefiniertes Layout">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6CABC814-C90E-0344-8A58-4FDA6E4E1F40}"/>
              </a:ext>
            </a:extLst>
          </p:cNvPr>
          <p:cNvSpPr>
            <a:spLocks noGrp="1"/>
          </p:cNvSpPr>
          <p:nvPr>
            <p:ph type="pic" sz="quarter" idx="10"/>
          </p:nvPr>
        </p:nvSpPr>
        <p:spPr>
          <a:xfrm>
            <a:off x="838200" y="1895474"/>
            <a:ext cx="1854200" cy="1841500"/>
          </a:xfrm>
          <a:prstGeom prst="rect">
            <a:avLst/>
          </a:prstGeom>
        </p:spPr>
        <p:txBody>
          <a:bodyPr/>
          <a:lstStyle/>
          <a:p>
            <a:endParaRPr lang="de-DE"/>
          </a:p>
        </p:txBody>
      </p:sp>
      <p:sp>
        <p:nvSpPr>
          <p:cNvPr id="10" name="Bildplatzhalter 8">
            <a:extLst>
              <a:ext uri="{FF2B5EF4-FFF2-40B4-BE49-F238E27FC236}">
                <a16:creationId xmlns:a16="http://schemas.microsoft.com/office/drawing/2014/main" id="{C71BAFC3-18F3-9F4D-9AA7-F7B37F27F532}"/>
              </a:ext>
            </a:extLst>
          </p:cNvPr>
          <p:cNvSpPr>
            <a:spLocks noGrp="1"/>
          </p:cNvSpPr>
          <p:nvPr>
            <p:ph type="pic" sz="quarter" idx="11"/>
          </p:nvPr>
        </p:nvSpPr>
        <p:spPr>
          <a:xfrm>
            <a:off x="838200" y="4111135"/>
            <a:ext cx="1854200" cy="1841500"/>
          </a:xfrm>
          <a:prstGeom prst="rect">
            <a:avLst/>
          </a:prstGeom>
        </p:spPr>
        <p:txBody>
          <a:bodyPr/>
          <a:lstStyle/>
          <a:p>
            <a:endParaRPr lang="de-DE"/>
          </a:p>
        </p:txBody>
      </p:sp>
      <p:pic>
        <p:nvPicPr>
          <p:cNvPr id="3" name="Grafik 2" descr="Ein Bild, das Text, Uhr enthält.&#10;&#10;Automatisch generierte Beschreibung">
            <a:extLst>
              <a:ext uri="{FF2B5EF4-FFF2-40B4-BE49-F238E27FC236}">
                <a16:creationId xmlns:a16="http://schemas.microsoft.com/office/drawing/2014/main" id="{0209DB41-4402-A14A-867E-AB1E1740A5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5" y="2136364"/>
            <a:ext cx="3221915" cy="3221915"/>
          </a:xfrm>
          <a:prstGeom prst="rect">
            <a:avLst/>
          </a:prstGeom>
        </p:spPr>
      </p:pic>
      <p:sp>
        <p:nvSpPr>
          <p:cNvPr id="13" name="Titel 12">
            <a:extLst>
              <a:ext uri="{FF2B5EF4-FFF2-40B4-BE49-F238E27FC236}">
                <a16:creationId xmlns:a16="http://schemas.microsoft.com/office/drawing/2014/main" id="{D8F36CCA-3211-7649-B6F9-817B8D4BD8CD}"/>
              </a:ext>
            </a:extLst>
          </p:cNvPr>
          <p:cNvSpPr>
            <a:spLocks noGrp="1"/>
          </p:cNvSpPr>
          <p:nvPr>
            <p:ph type="title"/>
          </p:nvPr>
        </p:nvSpPr>
        <p:spPr/>
        <p:txBody>
          <a:bodyPr/>
          <a:lstStyle/>
          <a:p>
            <a:r>
              <a:rPr lang="de-DE"/>
              <a:t>Mastertitelformat bearbeiten</a:t>
            </a:r>
          </a:p>
        </p:txBody>
      </p:sp>
      <p:sp>
        <p:nvSpPr>
          <p:cNvPr id="18" name="Textplatzhalter 17">
            <a:extLst>
              <a:ext uri="{FF2B5EF4-FFF2-40B4-BE49-F238E27FC236}">
                <a16:creationId xmlns:a16="http://schemas.microsoft.com/office/drawing/2014/main" id="{409C67B2-DAFA-FD44-AF84-D451E6FCD2C5}"/>
              </a:ext>
            </a:extLst>
          </p:cNvPr>
          <p:cNvSpPr>
            <a:spLocks noGrp="1"/>
          </p:cNvSpPr>
          <p:nvPr>
            <p:ph type="body" sz="quarter" idx="14" hasCustomPrompt="1"/>
          </p:nvPr>
        </p:nvSpPr>
        <p:spPr>
          <a:xfrm>
            <a:off x="2903164" y="2534471"/>
            <a:ext cx="3192836" cy="1212850"/>
          </a:xfrm>
          <a:prstGeom prst="rect">
            <a:avLst/>
          </a:prstGeom>
        </p:spPr>
        <p:txBody>
          <a:bodyPr/>
          <a:lstStyle>
            <a:lvl1pPr marL="0" indent="0">
              <a:lnSpc>
                <a:spcPts val="980"/>
              </a:lnSpc>
              <a:buNone/>
              <a:defRPr sz="1400">
                <a:latin typeface="Microsoft Sans Serif" panose="020B0604020202020204" pitchFamily="34" charset="0"/>
                <a:cs typeface="Microsoft Sans Serif" panose="020B0604020202020204" pitchFamily="34" charset="0"/>
              </a:defRPr>
            </a:lvl1pPr>
            <a:lvl2pPr marL="457200" indent="0">
              <a:buNone/>
              <a:defRPr>
                <a:latin typeface="Microsoft Sans Serif" panose="020B0604020202020204" pitchFamily="34" charset="0"/>
                <a:cs typeface="Microsoft Sans Serif" panose="020B0604020202020204" pitchFamily="34" charset="0"/>
              </a:defRPr>
            </a:lvl2pPr>
            <a:lvl3pPr marL="914400" indent="0">
              <a:buNone/>
              <a:defRPr>
                <a:latin typeface="Microsoft Sans Serif" panose="020B0604020202020204" pitchFamily="34" charset="0"/>
                <a:cs typeface="Microsoft Sans Serif" panose="020B0604020202020204" pitchFamily="34" charset="0"/>
              </a:defRPr>
            </a:lvl3pPr>
            <a:lvl4pPr marL="1371600" indent="0">
              <a:buNone/>
              <a:defRPr>
                <a:latin typeface="Microsoft Sans Serif" panose="020B0604020202020204" pitchFamily="34" charset="0"/>
                <a:cs typeface="Microsoft Sans Serif" panose="020B0604020202020204" pitchFamily="34" charset="0"/>
              </a:defRPr>
            </a:lvl4pPr>
            <a:lvl5pPr>
              <a:defRPr>
                <a:latin typeface="Microsoft Sans Serif" panose="020B0604020202020204" pitchFamily="34" charset="0"/>
                <a:cs typeface="Microsoft Sans Serif" panose="020B0604020202020204" pitchFamily="34" charset="0"/>
              </a:defRPr>
            </a:lvl5pPr>
          </a:lstStyle>
          <a:p>
            <a:pPr lvl="0"/>
            <a:r>
              <a:rPr lang="de-DE" dirty="0"/>
              <a:t>Vorname Nachname</a:t>
            </a:r>
          </a:p>
          <a:p>
            <a:pPr lvl="0"/>
            <a:r>
              <a:rPr lang="de-DE" dirty="0"/>
              <a:t>Position</a:t>
            </a:r>
          </a:p>
          <a:p>
            <a:pPr lvl="0"/>
            <a:r>
              <a:rPr lang="de-DE" dirty="0"/>
              <a:t>Vorname.nachname@klaiton.com</a:t>
            </a:r>
          </a:p>
          <a:p>
            <a:pPr marL="0" marR="0" lvl="0" indent="0" algn="l" defTabSz="914400" rtl="0" eaLnBrk="1" fontAlgn="auto" latinLnBrk="0" hangingPunct="1">
              <a:lnSpc>
                <a:spcPts val="980"/>
              </a:lnSpc>
              <a:spcBef>
                <a:spcPts val="1000"/>
              </a:spcBef>
              <a:spcAft>
                <a:spcPts val="0"/>
              </a:spcAft>
              <a:buClrTx/>
              <a:buSzTx/>
              <a:buFont typeface="Arial" panose="020B0604020202020204" pitchFamily="34" charset="0"/>
              <a:buNone/>
              <a:tabLst/>
              <a:defRPr/>
            </a:pPr>
            <a:r>
              <a:rPr lang="de-DE" dirty="0"/>
              <a:t>AT +43-676-847-833 301</a:t>
            </a:r>
          </a:p>
          <a:p>
            <a:pPr lvl="0"/>
            <a:r>
              <a:rPr lang="de-DE" dirty="0"/>
              <a:t>DE +49-211-40 833 301</a:t>
            </a:r>
          </a:p>
        </p:txBody>
      </p:sp>
      <p:sp>
        <p:nvSpPr>
          <p:cNvPr id="19" name="Textplatzhalter 17">
            <a:extLst>
              <a:ext uri="{FF2B5EF4-FFF2-40B4-BE49-F238E27FC236}">
                <a16:creationId xmlns:a16="http://schemas.microsoft.com/office/drawing/2014/main" id="{B5E139C1-5A58-E148-B611-CCEA6C034668}"/>
              </a:ext>
            </a:extLst>
          </p:cNvPr>
          <p:cNvSpPr>
            <a:spLocks noGrp="1"/>
          </p:cNvSpPr>
          <p:nvPr>
            <p:ph type="body" sz="quarter" idx="15" hasCustomPrompt="1"/>
          </p:nvPr>
        </p:nvSpPr>
        <p:spPr>
          <a:xfrm>
            <a:off x="2903164" y="4739785"/>
            <a:ext cx="3192836" cy="1212850"/>
          </a:xfrm>
          <a:prstGeom prst="rect">
            <a:avLst/>
          </a:prstGeom>
        </p:spPr>
        <p:txBody>
          <a:bodyPr/>
          <a:lstStyle>
            <a:lvl1pPr marL="0" indent="0">
              <a:lnSpc>
                <a:spcPts val="980"/>
              </a:lnSpc>
              <a:buNone/>
              <a:defRPr sz="1400">
                <a:latin typeface="Microsoft Sans Serif" panose="020B0604020202020204" pitchFamily="34" charset="0"/>
                <a:cs typeface="Microsoft Sans Serif" panose="020B0604020202020204" pitchFamily="34" charset="0"/>
              </a:defRPr>
            </a:lvl1pPr>
            <a:lvl2pPr marL="457200" indent="0">
              <a:buNone/>
              <a:defRPr>
                <a:latin typeface="Microsoft Sans Serif" panose="020B0604020202020204" pitchFamily="34" charset="0"/>
                <a:cs typeface="Microsoft Sans Serif" panose="020B0604020202020204" pitchFamily="34" charset="0"/>
              </a:defRPr>
            </a:lvl2pPr>
            <a:lvl3pPr marL="914400" indent="0">
              <a:buNone/>
              <a:defRPr>
                <a:latin typeface="Microsoft Sans Serif" panose="020B0604020202020204" pitchFamily="34" charset="0"/>
                <a:cs typeface="Microsoft Sans Serif" panose="020B0604020202020204" pitchFamily="34" charset="0"/>
              </a:defRPr>
            </a:lvl3pPr>
            <a:lvl4pPr marL="1371600" indent="0">
              <a:buNone/>
              <a:defRPr>
                <a:latin typeface="Microsoft Sans Serif" panose="020B0604020202020204" pitchFamily="34" charset="0"/>
                <a:cs typeface="Microsoft Sans Serif" panose="020B0604020202020204" pitchFamily="34" charset="0"/>
              </a:defRPr>
            </a:lvl4pPr>
            <a:lvl5pPr>
              <a:defRPr>
                <a:latin typeface="Microsoft Sans Serif" panose="020B0604020202020204" pitchFamily="34" charset="0"/>
                <a:cs typeface="Microsoft Sans Serif" panose="020B0604020202020204" pitchFamily="34" charset="0"/>
              </a:defRPr>
            </a:lvl5pPr>
          </a:lstStyle>
          <a:p>
            <a:pPr lvl="0"/>
            <a:r>
              <a:rPr lang="de-DE" dirty="0"/>
              <a:t>Vorname Nachname</a:t>
            </a:r>
          </a:p>
          <a:p>
            <a:pPr lvl="0"/>
            <a:r>
              <a:rPr lang="de-DE" dirty="0"/>
              <a:t>Position</a:t>
            </a:r>
          </a:p>
          <a:p>
            <a:pPr lvl="0"/>
            <a:r>
              <a:rPr lang="de-DE" dirty="0"/>
              <a:t>Vorname.nachname@klaiton.com</a:t>
            </a:r>
          </a:p>
          <a:p>
            <a:pPr marL="0" marR="0" lvl="0" indent="0" algn="l" defTabSz="914400" rtl="0" eaLnBrk="1" fontAlgn="auto" latinLnBrk="0" hangingPunct="1">
              <a:lnSpc>
                <a:spcPts val="980"/>
              </a:lnSpc>
              <a:spcBef>
                <a:spcPts val="1000"/>
              </a:spcBef>
              <a:spcAft>
                <a:spcPts val="0"/>
              </a:spcAft>
              <a:buClrTx/>
              <a:buSzTx/>
              <a:buFont typeface="Arial" panose="020B0604020202020204" pitchFamily="34" charset="0"/>
              <a:buNone/>
              <a:tabLst/>
              <a:defRPr/>
            </a:pPr>
            <a:r>
              <a:rPr lang="de-DE" dirty="0"/>
              <a:t>AT +43-676-847-833 301</a:t>
            </a:r>
          </a:p>
          <a:p>
            <a:pPr lvl="0"/>
            <a:r>
              <a:rPr lang="de-DE" dirty="0"/>
              <a:t>DE +49-211-40 833 301</a:t>
            </a:r>
          </a:p>
        </p:txBody>
      </p:sp>
      <p:sp>
        <p:nvSpPr>
          <p:cNvPr id="4" name="Fußzeilenplatzhalter 3">
            <a:extLst>
              <a:ext uri="{FF2B5EF4-FFF2-40B4-BE49-F238E27FC236}">
                <a16:creationId xmlns:a16="http://schemas.microsoft.com/office/drawing/2014/main" id="{152DEF9C-B428-4871-9ACF-4908854AFCB7}"/>
              </a:ext>
            </a:extLst>
          </p:cNvPr>
          <p:cNvSpPr>
            <a:spLocks noGrp="1"/>
          </p:cNvSpPr>
          <p:nvPr>
            <p:ph type="ftr" sz="quarter" idx="17"/>
          </p:nvPr>
        </p:nvSpPr>
        <p:spPr/>
        <p:txBody>
          <a:bodyPr/>
          <a:lstStyle/>
          <a:p>
            <a:endParaRPr lang="de-AT"/>
          </a:p>
        </p:txBody>
      </p:sp>
      <p:sp>
        <p:nvSpPr>
          <p:cNvPr id="5" name="Foliennummernplatzhalter 4">
            <a:extLst>
              <a:ext uri="{FF2B5EF4-FFF2-40B4-BE49-F238E27FC236}">
                <a16:creationId xmlns:a16="http://schemas.microsoft.com/office/drawing/2014/main" id="{4F7B020A-1BCE-4CD7-98C5-DA4DC6EC64D6}"/>
              </a:ext>
            </a:extLst>
          </p:cNvPr>
          <p:cNvSpPr>
            <a:spLocks noGrp="1"/>
          </p:cNvSpPr>
          <p:nvPr>
            <p:ph type="sldNum" sz="quarter" idx="18"/>
          </p:nvPr>
        </p:nvSpPr>
        <p:spPr/>
        <p:txBody>
          <a:bodyPr/>
          <a:lstStyle/>
          <a:p>
            <a:fld id="{A6E611E7-8F6D-48FF-A375-CD1E8B06DE97}" type="slidenum">
              <a:rPr lang="de-AT" smtClean="0"/>
              <a:t>‹Nr.›</a:t>
            </a:fld>
            <a:endParaRPr lang="de-AT"/>
          </a:p>
        </p:txBody>
      </p:sp>
    </p:spTree>
    <p:extLst>
      <p:ext uri="{BB962C8B-B14F-4D97-AF65-F5344CB8AC3E}">
        <p14:creationId xmlns:p14="http://schemas.microsoft.com/office/powerpoint/2010/main" val="24863209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A3BB5447-2D21-574A-B858-B0AD0CEAE2E2}"/>
              </a:ext>
            </a:extLst>
          </p:cNvPr>
          <p:cNvSpPr>
            <a:spLocks noGrp="1"/>
          </p:cNvSpPr>
          <p:nvPr>
            <p:ph type="body" sz="quarter" idx="10"/>
          </p:nvPr>
        </p:nvSpPr>
        <p:spPr>
          <a:xfrm>
            <a:off x="573121" y="1735382"/>
            <a:ext cx="5890928" cy="1603375"/>
          </a:xfrm>
          <a:prstGeom prst="rect">
            <a:avLst/>
          </a:prstGeom>
        </p:spPr>
        <p:txBody>
          <a:bodyPr/>
          <a:lstStyle>
            <a:lvl1pPr marL="0" indent="0" algn="r">
              <a:buNone/>
              <a:defRPr sz="4800">
                <a:latin typeface="Century" panose="02040604050505020304" pitchFamily="18" charset="0"/>
              </a:defRPr>
            </a:lvl1pPr>
          </a:lstStyle>
          <a:p>
            <a:pPr lvl="0"/>
            <a:r>
              <a:rPr lang="de-DE"/>
              <a:t>Mastertextformat bearbeiten</a:t>
            </a:r>
          </a:p>
        </p:txBody>
      </p:sp>
      <p:sp>
        <p:nvSpPr>
          <p:cNvPr id="2" name="Titel 1">
            <a:extLst>
              <a:ext uri="{FF2B5EF4-FFF2-40B4-BE49-F238E27FC236}">
                <a16:creationId xmlns:a16="http://schemas.microsoft.com/office/drawing/2014/main" id="{DFBD7193-A328-8544-8654-A52389E671D3}"/>
              </a:ext>
            </a:extLst>
          </p:cNvPr>
          <p:cNvSpPr>
            <a:spLocks noGrp="1"/>
          </p:cNvSpPr>
          <p:nvPr>
            <p:ph type="title"/>
          </p:nvPr>
        </p:nvSpPr>
        <p:spPr/>
        <p:txBody>
          <a:bodyPr/>
          <a:lstStyle/>
          <a:p>
            <a:r>
              <a:rPr lang="de-DE"/>
              <a:t>Mastertitelformat bearbeiten</a:t>
            </a:r>
          </a:p>
        </p:txBody>
      </p:sp>
      <p:sp>
        <p:nvSpPr>
          <p:cNvPr id="10" name="Textplatzhalter 9">
            <a:extLst>
              <a:ext uri="{FF2B5EF4-FFF2-40B4-BE49-F238E27FC236}">
                <a16:creationId xmlns:a16="http://schemas.microsoft.com/office/drawing/2014/main" id="{4CBEDC36-3551-1F43-8840-865D4F4F9DFB}"/>
              </a:ext>
            </a:extLst>
          </p:cNvPr>
          <p:cNvSpPr>
            <a:spLocks noGrp="1"/>
          </p:cNvSpPr>
          <p:nvPr>
            <p:ph type="body" sz="quarter" idx="11"/>
          </p:nvPr>
        </p:nvSpPr>
        <p:spPr>
          <a:xfrm>
            <a:off x="4992688" y="3519244"/>
            <a:ext cx="5548312" cy="1925881"/>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a:t>Mastertextformat bearbeiten</a:t>
            </a:r>
          </a:p>
        </p:txBody>
      </p:sp>
      <p:sp>
        <p:nvSpPr>
          <p:cNvPr id="5" name="Foliennummernplatzhalter 4">
            <a:extLst>
              <a:ext uri="{FF2B5EF4-FFF2-40B4-BE49-F238E27FC236}">
                <a16:creationId xmlns:a16="http://schemas.microsoft.com/office/drawing/2014/main" id="{86904224-A4D1-48FE-8C59-78887B64AD79}"/>
              </a:ext>
            </a:extLst>
          </p:cNvPr>
          <p:cNvSpPr>
            <a:spLocks noGrp="1"/>
          </p:cNvSpPr>
          <p:nvPr>
            <p:ph type="sldNum" sz="quarter" idx="18"/>
          </p:nvPr>
        </p:nvSpPr>
        <p:spPr>
          <a:xfrm>
            <a:off x="8610600" y="6420358"/>
            <a:ext cx="2743200" cy="365125"/>
          </a:xfrm>
        </p:spPr>
        <p:txBody>
          <a:bodyPr/>
          <a:lstStyle/>
          <a:p>
            <a:fld id="{A6E611E7-8F6D-48FF-A375-CD1E8B06DE97}" type="slidenum">
              <a:rPr lang="de-AT" smtClean="0"/>
              <a:t>‹Nr.›</a:t>
            </a:fld>
            <a:endParaRPr lang="de-AT"/>
          </a:p>
        </p:txBody>
      </p:sp>
      <p:sp>
        <p:nvSpPr>
          <p:cNvPr id="6" name="Fußzeilenplatzhalter 3">
            <a:extLst>
              <a:ext uri="{FF2B5EF4-FFF2-40B4-BE49-F238E27FC236}">
                <a16:creationId xmlns:a16="http://schemas.microsoft.com/office/drawing/2014/main" id="{1A9A00AC-00D2-48B0-8BB8-79E7257A5252}"/>
              </a:ext>
            </a:extLst>
          </p:cNvPr>
          <p:cNvSpPr>
            <a:spLocks noGrp="1"/>
          </p:cNvSpPr>
          <p:nvPr>
            <p:ph type="ftr" sz="quarter" idx="12"/>
          </p:nvPr>
        </p:nvSpPr>
        <p:spPr>
          <a:xfrm>
            <a:off x="4038600" y="6420358"/>
            <a:ext cx="4114800" cy="365125"/>
          </a:xfrm>
        </p:spPr>
        <p:txBody>
          <a:bodyPr/>
          <a:lstStyle/>
          <a:p>
            <a:endParaRPr lang="de-AT" dirty="0"/>
          </a:p>
        </p:txBody>
      </p:sp>
    </p:spTree>
    <p:extLst>
      <p:ext uri="{BB962C8B-B14F-4D97-AF65-F5344CB8AC3E}">
        <p14:creationId xmlns:p14="http://schemas.microsoft.com/office/powerpoint/2010/main" val="1830912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B10201-99E6-2E4E-AF0B-25D1B60E16FB}"/>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DF43DA9A-28E1-44B5-977F-575E796E07B4}"/>
              </a:ext>
            </a:extLst>
          </p:cNvPr>
          <p:cNvSpPr>
            <a:spLocks noGrp="1"/>
          </p:cNvSpPr>
          <p:nvPr>
            <p:ph type="ftr" sz="quarter" idx="12"/>
          </p:nvPr>
        </p:nvSpPr>
        <p:spPr/>
        <p:txBody>
          <a:bodyPr/>
          <a:lstStyle/>
          <a:p>
            <a:endParaRPr lang="de-AT" dirty="0"/>
          </a:p>
        </p:txBody>
      </p:sp>
      <p:sp>
        <p:nvSpPr>
          <p:cNvPr id="5" name="Foliennummernplatzhalter 4">
            <a:extLst>
              <a:ext uri="{FF2B5EF4-FFF2-40B4-BE49-F238E27FC236}">
                <a16:creationId xmlns:a16="http://schemas.microsoft.com/office/drawing/2014/main" id="{805C173A-51C8-4B59-9980-B273AB5BDFA1}"/>
              </a:ext>
            </a:extLst>
          </p:cNvPr>
          <p:cNvSpPr>
            <a:spLocks noGrp="1"/>
          </p:cNvSpPr>
          <p:nvPr>
            <p:ph type="sldNum" sz="quarter" idx="13"/>
          </p:nvPr>
        </p:nvSpPr>
        <p:spPr/>
        <p:txBody>
          <a:bodyPr/>
          <a:lstStyle/>
          <a:p>
            <a:fld id="{A6E611E7-8F6D-48FF-A375-CD1E8B06DE97}" type="slidenum">
              <a:rPr lang="de-AT" smtClean="0"/>
              <a:t>‹Nr.›</a:t>
            </a:fld>
            <a:endParaRPr lang="de-AT"/>
          </a:p>
        </p:txBody>
      </p:sp>
      <p:sp>
        <p:nvSpPr>
          <p:cNvPr id="8" name="Textplatzhalter 7">
            <a:extLst>
              <a:ext uri="{FF2B5EF4-FFF2-40B4-BE49-F238E27FC236}">
                <a16:creationId xmlns:a16="http://schemas.microsoft.com/office/drawing/2014/main" id="{1C236171-647C-418E-8368-09759F7F51BA}"/>
              </a:ext>
            </a:extLst>
          </p:cNvPr>
          <p:cNvSpPr>
            <a:spLocks noGrp="1"/>
          </p:cNvSpPr>
          <p:nvPr>
            <p:ph type="body" sz="quarter" idx="14" hasCustomPrompt="1"/>
          </p:nvPr>
        </p:nvSpPr>
        <p:spPr>
          <a:xfrm>
            <a:off x="838200" y="1281113"/>
            <a:ext cx="10515600" cy="4712839"/>
          </a:xfrm>
          <a:prstGeom prst="rect">
            <a:avLst/>
          </a:prstGeom>
        </p:spPr>
        <p:txBody>
          <a:bodyPr/>
          <a:lstStyle>
            <a:lvl1pPr marL="0" indent="0">
              <a:lnSpc>
                <a:spcPct val="150000"/>
              </a:lnSpc>
              <a:buNone/>
              <a:defRPr sz="1800">
                <a:latin typeface="Microsoft Sans Serif" panose="020B0604020202020204" pitchFamily="34" charset="0"/>
                <a:ea typeface="Microsoft Sans Serif" panose="020B0604020202020204" pitchFamily="34" charset="0"/>
                <a:cs typeface="Microsoft Sans Serif" panose="020B0604020202020204" pitchFamily="34" charset="0"/>
              </a:defRPr>
            </a:lvl1pPr>
          </a:lstStyle>
          <a:p>
            <a:pPr lvl="0"/>
            <a:r>
              <a:rPr lang="de-AT" dirty="0" err="1"/>
              <a:t>Lorem</a:t>
            </a:r>
            <a:r>
              <a:rPr lang="de-AT" dirty="0"/>
              <a:t> </a:t>
            </a:r>
            <a:r>
              <a:rPr lang="de-AT" dirty="0" err="1"/>
              <a:t>ipsum</a:t>
            </a:r>
            <a:r>
              <a:rPr lang="de-AT" dirty="0"/>
              <a:t> </a:t>
            </a:r>
            <a:r>
              <a:rPr lang="de-AT" dirty="0" err="1"/>
              <a:t>dolor</a:t>
            </a:r>
            <a:r>
              <a:rPr lang="de-AT" dirty="0"/>
              <a:t> </a:t>
            </a:r>
            <a:r>
              <a:rPr lang="de-AT" dirty="0" err="1"/>
              <a:t>sit</a:t>
            </a:r>
            <a:r>
              <a:rPr lang="de-AT" dirty="0"/>
              <a:t> </a:t>
            </a:r>
            <a:r>
              <a:rPr lang="de-AT" dirty="0" err="1"/>
              <a:t>amet</a:t>
            </a:r>
            <a:r>
              <a:rPr lang="de-AT" dirty="0"/>
              <a:t>, </a:t>
            </a:r>
            <a:r>
              <a:rPr lang="de-AT" dirty="0" err="1"/>
              <a:t>consectetur</a:t>
            </a:r>
            <a:r>
              <a:rPr lang="de-AT" dirty="0"/>
              <a:t> </a:t>
            </a:r>
            <a:r>
              <a:rPr lang="de-AT" dirty="0" err="1"/>
              <a:t>adipiscing</a:t>
            </a:r>
            <a:r>
              <a:rPr lang="de-AT" dirty="0"/>
              <a:t> </a:t>
            </a:r>
            <a:r>
              <a:rPr lang="de-AT" dirty="0" err="1"/>
              <a:t>elit</a:t>
            </a:r>
            <a:r>
              <a:rPr lang="de-AT" dirty="0"/>
              <a:t>, sed do </a:t>
            </a:r>
            <a:r>
              <a:rPr lang="de-AT" dirty="0" err="1"/>
              <a:t>eiusmod</a:t>
            </a:r>
            <a:r>
              <a:rPr lang="de-AT" dirty="0"/>
              <a:t> </a:t>
            </a:r>
            <a:r>
              <a:rPr lang="de-AT" dirty="0" err="1"/>
              <a:t>tempor</a:t>
            </a:r>
            <a:r>
              <a:rPr lang="de-AT" dirty="0"/>
              <a:t> </a:t>
            </a:r>
            <a:r>
              <a:rPr lang="de-AT" dirty="0" err="1"/>
              <a:t>incididunt</a:t>
            </a:r>
            <a:r>
              <a:rPr lang="de-AT" dirty="0"/>
              <a:t> </a:t>
            </a:r>
            <a:r>
              <a:rPr lang="de-AT" dirty="0" err="1"/>
              <a:t>ut</a:t>
            </a:r>
            <a:r>
              <a:rPr lang="de-AT" dirty="0"/>
              <a:t> </a:t>
            </a:r>
            <a:r>
              <a:rPr lang="de-AT" dirty="0" err="1"/>
              <a:t>labore</a:t>
            </a:r>
            <a:r>
              <a:rPr lang="de-AT" dirty="0"/>
              <a:t> et </a:t>
            </a:r>
            <a:r>
              <a:rPr lang="de-AT" dirty="0" err="1"/>
              <a:t>dolore</a:t>
            </a:r>
            <a:r>
              <a:rPr lang="de-AT" dirty="0"/>
              <a:t> magna </a:t>
            </a:r>
            <a:r>
              <a:rPr lang="de-AT" dirty="0" err="1"/>
              <a:t>aliqua</a:t>
            </a:r>
            <a:r>
              <a:rPr lang="de-AT" dirty="0"/>
              <a:t>. </a:t>
            </a:r>
            <a:r>
              <a:rPr lang="de-AT" dirty="0" err="1"/>
              <a:t>Ut</a:t>
            </a:r>
            <a:r>
              <a:rPr lang="de-AT" dirty="0"/>
              <a:t> </a:t>
            </a:r>
            <a:r>
              <a:rPr lang="de-AT" dirty="0" err="1"/>
              <a:t>enim</a:t>
            </a:r>
            <a:r>
              <a:rPr lang="de-AT" dirty="0"/>
              <a:t> ad minim </a:t>
            </a:r>
            <a:r>
              <a:rPr lang="de-AT" dirty="0" err="1"/>
              <a:t>veniam</a:t>
            </a:r>
            <a:r>
              <a:rPr lang="de-AT" dirty="0"/>
              <a:t>, </a:t>
            </a:r>
            <a:r>
              <a:rPr lang="de-AT" dirty="0" err="1"/>
              <a:t>quis</a:t>
            </a:r>
            <a:r>
              <a:rPr lang="de-AT" dirty="0"/>
              <a:t> </a:t>
            </a:r>
            <a:r>
              <a:rPr lang="de-AT" dirty="0" err="1"/>
              <a:t>nostrud</a:t>
            </a:r>
            <a:r>
              <a:rPr lang="de-AT" dirty="0"/>
              <a:t> </a:t>
            </a:r>
            <a:r>
              <a:rPr lang="de-AT" dirty="0" err="1"/>
              <a:t>exercitation</a:t>
            </a:r>
            <a:r>
              <a:rPr lang="de-AT" dirty="0"/>
              <a:t> </a:t>
            </a:r>
            <a:r>
              <a:rPr lang="de-AT" dirty="0" err="1"/>
              <a:t>ullamco</a:t>
            </a:r>
            <a:r>
              <a:rPr lang="de-AT" dirty="0"/>
              <a:t> </a:t>
            </a:r>
            <a:r>
              <a:rPr lang="de-AT" dirty="0" err="1"/>
              <a:t>laboris</a:t>
            </a:r>
            <a:r>
              <a:rPr lang="de-AT" dirty="0"/>
              <a:t> nisi </a:t>
            </a:r>
            <a:r>
              <a:rPr lang="de-AT" dirty="0" err="1"/>
              <a:t>ut</a:t>
            </a:r>
            <a:r>
              <a:rPr lang="de-AT" dirty="0"/>
              <a:t> </a:t>
            </a:r>
            <a:r>
              <a:rPr lang="de-AT" dirty="0" err="1"/>
              <a:t>aliquip</a:t>
            </a:r>
            <a:r>
              <a:rPr lang="de-AT" dirty="0"/>
              <a:t> ex </a:t>
            </a:r>
            <a:r>
              <a:rPr lang="de-AT" dirty="0" err="1"/>
              <a:t>ea</a:t>
            </a:r>
            <a:r>
              <a:rPr lang="de-AT" dirty="0"/>
              <a:t> commodo </a:t>
            </a:r>
            <a:r>
              <a:rPr lang="de-AT" dirty="0" err="1"/>
              <a:t>consequat</a:t>
            </a:r>
            <a:r>
              <a:rPr lang="de-AT" dirty="0"/>
              <a:t>. Duis </a:t>
            </a:r>
            <a:r>
              <a:rPr lang="de-AT" dirty="0" err="1"/>
              <a:t>aute</a:t>
            </a:r>
            <a:r>
              <a:rPr lang="de-AT" dirty="0"/>
              <a:t> </a:t>
            </a:r>
            <a:r>
              <a:rPr lang="de-AT" dirty="0" err="1"/>
              <a:t>irure</a:t>
            </a:r>
            <a:r>
              <a:rPr lang="de-AT" dirty="0"/>
              <a:t> </a:t>
            </a:r>
            <a:r>
              <a:rPr lang="de-AT" dirty="0" err="1"/>
              <a:t>dolor</a:t>
            </a:r>
            <a:r>
              <a:rPr lang="de-AT" dirty="0"/>
              <a:t> in </a:t>
            </a:r>
            <a:r>
              <a:rPr lang="de-AT" dirty="0" err="1"/>
              <a:t>reprehenderit</a:t>
            </a:r>
            <a:r>
              <a:rPr lang="de-AT" dirty="0"/>
              <a:t> in </a:t>
            </a:r>
            <a:r>
              <a:rPr lang="de-AT" dirty="0" err="1"/>
              <a:t>voluptate</a:t>
            </a:r>
            <a:r>
              <a:rPr lang="de-AT" dirty="0"/>
              <a:t> </a:t>
            </a:r>
            <a:r>
              <a:rPr lang="de-AT" dirty="0" err="1"/>
              <a:t>velit</a:t>
            </a:r>
            <a:r>
              <a:rPr lang="de-AT" dirty="0"/>
              <a:t> esse </a:t>
            </a:r>
            <a:r>
              <a:rPr lang="de-AT" dirty="0" err="1"/>
              <a:t>cillum</a:t>
            </a:r>
            <a:r>
              <a:rPr lang="de-AT" dirty="0"/>
              <a:t> </a:t>
            </a:r>
            <a:r>
              <a:rPr lang="de-AT" dirty="0" err="1"/>
              <a:t>dolore</a:t>
            </a:r>
            <a:r>
              <a:rPr lang="de-AT" dirty="0"/>
              <a:t> </a:t>
            </a:r>
            <a:r>
              <a:rPr lang="de-AT" dirty="0" err="1"/>
              <a:t>eu</a:t>
            </a:r>
            <a:r>
              <a:rPr lang="de-AT" dirty="0"/>
              <a:t> </a:t>
            </a:r>
            <a:r>
              <a:rPr lang="de-AT" dirty="0" err="1"/>
              <a:t>fugiat</a:t>
            </a:r>
            <a:r>
              <a:rPr lang="de-AT" dirty="0"/>
              <a:t> nulla </a:t>
            </a:r>
            <a:r>
              <a:rPr lang="de-AT" dirty="0" err="1"/>
              <a:t>pariatur</a:t>
            </a:r>
            <a:r>
              <a:rPr lang="de-AT" dirty="0"/>
              <a:t>. </a:t>
            </a:r>
            <a:r>
              <a:rPr lang="de-AT" dirty="0" err="1"/>
              <a:t>Excepteur</a:t>
            </a:r>
            <a:r>
              <a:rPr lang="de-AT" dirty="0"/>
              <a:t> </a:t>
            </a:r>
            <a:r>
              <a:rPr lang="de-AT" dirty="0" err="1"/>
              <a:t>sint</a:t>
            </a:r>
            <a:r>
              <a:rPr lang="de-AT" dirty="0"/>
              <a:t> </a:t>
            </a:r>
            <a:r>
              <a:rPr lang="de-AT" dirty="0" err="1"/>
              <a:t>occaecat</a:t>
            </a:r>
            <a:r>
              <a:rPr lang="de-AT" dirty="0"/>
              <a:t> cupidatat non </a:t>
            </a:r>
            <a:r>
              <a:rPr lang="de-AT" dirty="0" err="1"/>
              <a:t>proident</a:t>
            </a:r>
            <a:r>
              <a:rPr lang="de-AT" dirty="0"/>
              <a:t>, </a:t>
            </a:r>
            <a:r>
              <a:rPr lang="de-AT" dirty="0" err="1"/>
              <a:t>sunt</a:t>
            </a:r>
            <a:r>
              <a:rPr lang="de-AT" dirty="0"/>
              <a:t> in culpa </a:t>
            </a:r>
            <a:r>
              <a:rPr lang="de-AT" dirty="0" err="1"/>
              <a:t>qui</a:t>
            </a:r>
            <a:r>
              <a:rPr lang="de-AT" dirty="0"/>
              <a:t> </a:t>
            </a:r>
            <a:r>
              <a:rPr lang="de-AT" dirty="0" err="1"/>
              <a:t>officia</a:t>
            </a:r>
            <a:r>
              <a:rPr lang="de-AT" dirty="0"/>
              <a:t> </a:t>
            </a:r>
            <a:r>
              <a:rPr lang="de-AT" dirty="0" err="1"/>
              <a:t>deserunt</a:t>
            </a:r>
            <a:r>
              <a:rPr lang="de-AT" dirty="0"/>
              <a:t> </a:t>
            </a:r>
            <a:r>
              <a:rPr lang="de-AT" dirty="0" err="1"/>
              <a:t>mollit</a:t>
            </a:r>
            <a:r>
              <a:rPr lang="de-AT" dirty="0"/>
              <a:t> </a:t>
            </a:r>
            <a:r>
              <a:rPr lang="de-AT" dirty="0" err="1"/>
              <a:t>anim</a:t>
            </a:r>
            <a:r>
              <a:rPr lang="de-AT" dirty="0"/>
              <a:t> </a:t>
            </a:r>
            <a:r>
              <a:rPr lang="de-AT" dirty="0" err="1"/>
              <a:t>id</a:t>
            </a:r>
            <a:r>
              <a:rPr lang="de-AT" dirty="0"/>
              <a:t> </a:t>
            </a:r>
            <a:r>
              <a:rPr lang="de-AT" dirty="0" err="1"/>
              <a:t>est</a:t>
            </a:r>
            <a:r>
              <a:rPr lang="de-AT" dirty="0"/>
              <a:t> </a:t>
            </a:r>
            <a:r>
              <a:rPr lang="de-AT" dirty="0" err="1"/>
              <a:t>laborum</a:t>
            </a:r>
            <a:r>
              <a:rPr lang="de-AT" dirty="0"/>
              <a:t>.</a:t>
            </a:r>
          </a:p>
        </p:txBody>
      </p:sp>
    </p:spTree>
    <p:extLst>
      <p:ext uri="{BB962C8B-B14F-4D97-AF65-F5344CB8AC3E}">
        <p14:creationId xmlns:p14="http://schemas.microsoft.com/office/powerpoint/2010/main" val="3688447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_grü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087F2B-62DB-8645-83C1-74ED69A4EA33}"/>
              </a:ext>
            </a:extLst>
          </p:cNvPr>
          <p:cNvSpPr>
            <a:spLocks noGrp="1"/>
          </p:cNvSpPr>
          <p:nvPr>
            <p:ph type="title"/>
          </p:nvPr>
        </p:nvSpPr>
        <p:spPr>
          <a:xfrm>
            <a:off x="838200" y="365126"/>
            <a:ext cx="8143875" cy="492124"/>
          </a:xfrm>
          <a:prstGeom prst="rect">
            <a:avLst/>
          </a:prstGeom>
        </p:spPr>
        <p:txBody>
          <a:bodyPr/>
          <a:lstStyle/>
          <a:p>
            <a:r>
              <a:rPr lang="de-DE" dirty="0"/>
              <a:t>Mastertitelformat bearbeiten</a:t>
            </a:r>
          </a:p>
        </p:txBody>
      </p:sp>
      <p:sp>
        <p:nvSpPr>
          <p:cNvPr id="3" name="Inhaltsplatzhalter 2">
            <a:extLst>
              <a:ext uri="{FF2B5EF4-FFF2-40B4-BE49-F238E27FC236}">
                <a16:creationId xmlns:a16="http://schemas.microsoft.com/office/drawing/2014/main" id="{057AFB37-2E53-C440-B377-FF6A69D69483}"/>
              </a:ext>
            </a:extLst>
          </p:cNvPr>
          <p:cNvSpPr>
            <a:spLocks noGrp="1"/>
          </p:cNvSpPr>
          <p:nvPr>
            <p:ph idx="1"/>
          </p:nvPr>
        </p:nvSpPr>
        <p:spPr>
          <a:xfrm>
            <a:off x="838200" y="1292839"/>
            <a:ext cx="10515600" cy="4631711"/>
          </a:xfrm>
          <a:prstGeom prst="rect">
            <a:avLst/>
          </a:prstGeom>
        </p:spPr>
        <p:txBody>
          <a:bodyPr/>
          <a:lstStyle>
            <a:lvl1pPr marL="514350" indent="-514350">
              <a:buFont typeface="+mj-lt"/>
              <a:buAutoNum type="arabicPeriod"/>
              <a:defRPr b="0" i="0">
                <a:latin typeface="Microsoft Sans Serif" panose="020B0604020202020204" pitchFamily="34" charset="0"/>
              </a:defRPr>
            </a:lvl1pPr>
            <a:lvl2pPr marL="628650" indent="-361950">
              <a:buFont typeface="+mj-lt"/>
              <a:buAutoNum type="arabicPeriod"/>
              <a:defRPr b="0" i="0">
                <a:latin typeface="Microsoft Sans Serif" panose="020B0604020202020204" pitchFamily="34" charset="0"/>
              </a:defRPr>
            </a:lvl2pPr>
            <a:lvl3pPr marL="990600" indent="-361950">
              <a:buFont typeface="+mj-lt"/>
              <a:buAutoNum type="arabicPeriod"/>
              <a:defRPr b="0" i="0">
                <a:latin typeface="Microsoft Sans Serif" panose="020B0604020202020204" pitchFamily="34" charset="0"/>
              </a:defRPr>
            </a:lvl3pPr>
            <a:lvl4pPr marL="1257300" indent="-266700">
              <a:buFont typeface="+mj-lt"/>
              <a:buAutoNum type="arabicPeriod"/>
              <a:defRPr b="0" i="0">
                <a:latin typeface="Microsoft Sans Serif" panose="020B0604020202020204" pitchFamily="34" charset="0"/>
              </a:defRPr>
            </a:lvl4pPr>
            <a:lvl5pPr marL="1524000" indent="-266700">
              <a:buFont typeface="+mj-lt"/>
              <a:buAutoNum type="arabicPeriod"/>
              <a:defRPr b="0" i="0">
                <a:latin typeface="Microsoft Sans Serif"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D88D0D8B-6570-9D48-8000-F82AF09C0F14}"/>
              </a:ext>
            </a:extLst>
          </p:cNvPr>
          <p:cNvSpPr>
            <a:spLocks noGrp="1"/>
          </p:cNvSpPr>
          <p:nvPr>
            <p:ph type="ftr" sz="quarter" idx="11"/>
          </p:nvPr>
        </p:nvSpPr>
        <p:spPr>
          <a:xfrm>
            <a:off x="4038600" y="6407150"/>
            <a:ext cx="4114800" cy="365125"/>
          </a:xfrm>
          <a:prstGeom prst="rect">
            <a:avLst/>
          </a:prstGeom>
        </p:spPr>
        <p:txBody>
          <a:bodyPr/>
          <a:lstStyle>
            <a:lvl1pPr>
              <a:defRPr b="0" i="0">
                <a:latin typeface="Microsoft Sans Serif" panose="020B0604020202020204" pitchFamily="34" charset="0"/>
              </a:defRPr>
            </a:lvl1pPr>
          </a:lstStyle>
          <a:p>
            <a:endParaRPr lang="de-DE" dirty="0"/>
          </a:p>
        </p:txBody>
      </p:sp>
      <p:sp>
        <p:nvSpPr>
          <p:cNvPr id="6" name="Foliennummernplatzhalter 5">
            <a:extLst>
              <a:ext uri="{FF2B5EF4-FFF2-40B4-BE49-F238E27FC236}">
                <a16:creationId xmlns:a16="http://schemas.microsoft.com/office/drawing/2014/main" id="{5A71DE38-7719-AD47-8BC2-2FCFDAD6D17C}"/>
              </a:ext>
            </a:extLst>
          </p:cNvPr>
          <p:cNvSpPr>
            <a:spLocks noGrp="1"/>
          </p:cNvSpPr>
          <p:nvPr>
            <p:ph type="sldNum" sz="quarter" idx="12"/>
          </p:nvPr>
        </p:nvSpPr>
        <p:spPr>
          <a:xfrm>
            <a:off x="8610600" y="6407150"/>
            <a:ext cx="2743200" cy="365125"/>
          </a:xfrm>
          <a:prstGeom prst="rect">
            <a:avLst/>
          </a:prstGeom>
        </p:spPr>
        <p:txBody>
          <a:bodyPr/>
          <a:lstStyle>
            <a:lvl1pPr>
              <a:defRPr b="0" i="0">
                <a:latin typeface="Microsoft Sans Serif" panose="020B0604020202020204" pitchFamily="34" charset="0"/>
              </a:defRPr>
            </a:lvl1pPr>
          </a:lstStyle>
          <a:p>
            <a:fld id="{5A8936CA-D2FE-9D45-8580-8E39AF73C35D}" type="slidenum">
              <a:rPr lang="de-DE" smtClean="0"/>
              <a:pPr/>
              <a:t>‹Nr.›</a:t>
            </a:fld>
            <a:endParaRPr lang="de-DE" dirty="0"/>
          </a:p>
        </p:txBody>
      </p:sp>
    </p:spTree>
    <p:extLst>
      <p:ext uri="{BB962C8B-B14F-4D97-AF65-F5344CB8AC3E}">
        <p14:creationId xmlns:p14="http://schemas.microsoft.com/office/powerpoint/2010/main" val="1336620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62A45-2ACC-3B4F-A2A6-707A82BDF060}"/>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F73B7BB4-2A21-44CA-A54A-279F59D8EEE4}"/>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1D3EF513-1593-4C8F-9E59-CA4FC0890E15}"/>
              </a:ext>
            </a:extLst>
          </p:cNvPr>
          <p:cNvSpPr>
            <a:spLocks noGrp="1"/>
          </p:cNvSpPr>
          <p:nvPr>
            <p:ph type="sldNum" sz="quarter" idx="12"/>
          </p:nvPr>
        </p:nvSpPr>
        <p:spPr/>
        <p:txBody>
          <a:bodyPr/>
          <a:lstStyle/>
          <a:p>
            <a:fld id="{BA30C15F-51C3-47A6-B763-2B0929D5DF4D}" type="slidenum">
              <a:rPr lang="de-AT" smtClean="0"/>
              <a:t>‹Nr.›</a:t>
            </a:fld>
            <a:endParaRPr lang="de-AT"/>
          </a:p>
        </p:txBody>
      </p:sp>
      <p:sp>
        <p:nvSpPr>
          <p:cNvPr id="7" name="Text Placeholder 19">
            <a:extLst>
              <a:ext uri="{FF2B5EF4-FFF2-40B4-BE49-F238E27FC236}">
                <a16:creationId xmlns:a16="http://schemas.microsoft.com/office/drawing/2014/main" id="{14E21D90-3220-482A-9AA9-B6945DF40C89}"/>
              </a:ext>
            </a:extLst>
          </p:cNvPr>
          <p:cNvSpPr>
            <a:spLocks noGrp="1"/>
          </p:cNvSpPr>
          <p:nvPr>
            <p:ph type="body" sz="quarter" idx="14" hasCustomPrompt="1"/>
          </p:nvPr>
        </p:nvSpPr>
        <p:spPr>
          <a:xfrm>
            <a:off x="952500" y="1287563"/>
            <a:ext cx="10401300" cy="4608412"/>
          </a:xfrm>
        </p:spPr>
        <p:txBody>
          <a:bodyPr/>
          <a:lstStyle>
            <a:lvl1pPr>
              <a:defRPr>
                <a:latin typeface="Microsoft GothicNeo" panose="020B0500000101010101" pitchFamily="34" charset="-127"/>
                <a:ea typeface="Microsoft GothicNeo" panose="020B0500000101010101" pitchFamily="34" charset="-127"/>
                <a:cs typeface="Microsoft GothicNeo" panose="020B0500000101010101" pitchFamily="34" charset="-127"/>
              </a:defRPr>
            </a:lvl1pPr>
            <a:lvl2pPr marL="447675" indent="-180975">
              <a:defRPr>
                <a:latin typeface="Microsoft GothicNeo" panose="020B0500000101010101" pitchFamily="34" charset="-127"/>
                <a:ea typeface="Microsoft GothicNeo" panose="020B0500000101010101" pitchFamily="34" charset="-127"/>
                <a:cs typeface="Microsoft GothicNeo" panose="020B0500000101010101" pitchFamily="34" charset="-127"/>
              </a:defRPr>
            </a:lvl2pPr>
            <a:lvl3pPr marL="714375" indent="-171450">
              <a:defRPr>
                <a:latin typeface="Microsoft GothicNeo" panose="020B0500000101010101" pitchFamily="34" charset="-127"/>
                <a:ea typeface="Microsoft GothicNeo" panose="020B0500000101010101" pitchFamily="34" charset="-127"/>
                <a:cs typeface="Microsoft GothicNeo" panose="020B0500000101010101" pitchFamily="34" charset="-127"/>
              </a:defRPr>
            </a:lvl3pPr>
            <a:lvl4pPr marL="895350" indent="-180975">
              <a:defRPr>
                <a:latin typeface="Microsoft GothicNeo" panose="020B0500000101010101" pitchFamily="34" charset="-127"/>
                <a:ea typeface="Microsoft GothicNeo" panose="020B0500000101010101" pitchFamily="34" charset="-127"/>
                <a:cs typeface="Microsoft GothicNeo" panose="020B0500000101010101" pitchFamily="34" charset="-127"/>
              </a:defRPr>
            </a:lvl4pPr>
            <a:lvl5pPr marL="1076325" indent="-180975">
              <a:defRPr>
                <a:latin typeface="Microsoft GothicNeo" panose="020B0500000101010101" pitchFamily="34" charset="-127"/>
                <a:ea typeface="Microsoft GothicNeo" panose="020B0500000101010101" pitchFamily="34" charset="-127"/>
                <a:cs typeface="Microsoft GothicNeo" panose="020B0500000101010101" pitchFamily="34" charset="-12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41137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orteile_grü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EB2F7F-BB21-0C4B-87E4-55A7396F45FC}"/>
              </a:ext>
            </a:extLst>
          </p:cNvPr>
          <p:cNvSpPr>
            <a:spLocks noGrp="1"/>
          </p:cNvSpPr>
          <p:nvPr>
            <p:ph type="title"/>
          </p:nvPr>
        </p:nvSpPr>
        <p:spPr/>
        <p:txBody>
          <a:bodyPr/>
          <a:lstStyle/>
          <a:p>
            <a:r>
              <a:rPr lang="de-DE"/>
              <a:t>Mastertitelformat bearbeiten</a:t>
            </a:r>
          </a:p>
        </p:txBody>
      </p:sp>
      <p:sp>
        <p:nvSpPr>
          <p:cNvPr id="12" name="Fußzeilenplatzhalter 11">
            <a:extLst>
              <a:ext uri="{FF2B5EF4-FFF2-40B4-BE49-F238E27FC236}">
                <a16:creationId xmlns:a16="http://schemas.microsoft.com/office/drawing/2014/main" id="{F9DAB6FC-9483-4ED9-AE86-1CF01080B7FE}"/>
              </a:ext>
            </a:extLst>
          </p:cNvPr>
          <p:cNvSpPr>
            <a:spLocks noGrp="1"/>
          </p:cNvSpPr>
          <p:nvPr>
            <p:ph type="ftr" sz="quarter" idx="19"/>
          </p:nvPr>
        </p:nvSpPr>
        <p:spPr>
          <a:xfrm>
            <a:off x="4038600" y="6403690"/>
            <a:ext cx="4114800" cy="365125"/>
          </a:xfrm>
        </p:spPr>
        <p:txBody>
          <a:bodyPr/>
          <a:lstStyle/>
          <a:p>
            <a:endParaRPr lang="de-AT"/>
          </a:p>
        </p:txBody>
      </p:sp>
      <p:sp>
        <p:nvSpPr>
          <p:cNvPr id="13" name="Foliennummernplatzhalter 12">
            <a:extLst>
              <a:ext uri="{FF2B5EF4-FFF2-40B4-BE49-F238E27FC236}">
                <a16:creationId xmlns:a16="http://schemas.microsoft.com/office/drawing/2014/main" id="{AE9478B2-25FB-49AA-9CD6-8C8E12B4FBD3}"/>
              </a:ext>
            </a:extLst>
          </p:cNvPr>
          <p:cNvSpPr>
            <a:spLocks noGrp="1"/>
          </p:cNvSpPr>
          <p:nvPr>
            <p:ph type="sldNum" sz="quarter" idx="20"/>
          </p:nvPr>
        </p:nvSpPr>
        <p:spPr>
          <a:xfrm>
            <a:off x="8610600" y="6403691"/>
            <a:ext cx="2743200" cy="365125"/>
          </a:xfrm>
        </p:spPr>
        <p:txBody>
          <a:bodyPr/>
          <a:lstStyle/>
          <a:p>
            <a:fld id="{23A8C71E-D222-49FC-9304-2DE29525E0AD}" type="slidenum">
              <a:rPr lang="de-AT" smtClean="0"/>
              <a:t>‹Nr.›</a:t>
            </a:fld>
            <a:endParaRPr lang="de-AT"/>
          </a:p>
        </p:txBody>
      </p:sp>
      <p:sp>
        <p:nvSpPr>
          <p:cNvPr id="32" name="Textplatzhalter 7">
            <a:extLst>
              <a:ext uri="{FF2B5EF4-FFF2-40B4-BE49-F238E27FC236}">
                <a16:creationId xmlns:a16="http://schemas.microsoft.com/office/drawing/2014/main" id="{A1F03B08-B8EA-4215-ABAD-74971E97FCE1}"/>
              </a:ext>
            </a:extLst>
          </p:cNvPr>
          <p:cNvSpPr>
            <a:spLocks noGrp="1"/>
          </p:cNvSpPr>
          <p:nvPr>
            <p:ph type="body" sz="quarter" idx="14" hasCustomPrompt="1"/>
          </p:nvPr>
        </p:nvSpPr>
        <p:spPr>
          <a:xfrm>
            <a:off x="838200" y="1281113"/>
            <a:ext cx="10515600" cy="4712839"/>
          </a:xfrm>
          <a:prstGeom prst="rect">
            <a:avLst/>
          </a:prstGeom>
        </p:spPr>
        <p:txBody>
          <a:bodyPr/>
          <a:lstStyle>
            <a:lvl1pPr marL="0" indent="0">
              <a:lnSpc>
                <a:spcPct val="150000"/>
              </a:lnSpc>
              <a:buNone/>
              <a:defRPr sz="1800">
                <a:latin typeface="Microsoft Sans Serif" panose="020B0604020202020204" pitchFamily="34" charset="0"/>
                <a:ea typeface="Microsoft Sans Serif" panose="020B0604020202020204" pitchFamily="34" charset="0"/>
                <a:cs typeface="Microsoft Sans Serif" panose="020B0604020202020204" pitchFamily="34" charset="0"/>
              </a:defRPr>
            </a:lvl1pPr>
          </a:lstStyle>
          <a:p>
            <a:pPr lvl="0"/>
            <a:r>
              <a:rPr lang="de-AT" dirty="0" err="1"/>
              <a:t>Lorem</a:t>
            </a:r>
            <a:r>
              <a:rPr lang="de-AT" dirty="0"/>
              <a:t> </a:t>
            </a:r>
            <a:r>
              <a:rPr lang="de-AT" dirty="0" err="1"/>
              <a:t>ipsum</a:t>
            </a:r>
            <a:r>
              <a:rPr lang="de-AT" dirty="0"/>
              <a:t> </a:t>
            </a:r>
            <a:r>
              <a:rPr lang="de-AT" dirty="0" err="1"/>
              <a:t>dolor</a:t>
            </a:r>
            <a:r>
              <a:rPr lang="de-AT" dirty="0"/>
              <a:t> </a:t>
            </a:r>
            <a:r>
              <a:rPr lang="de-AT" dirty="0" err="1"/>
              <a:t>sit</a:t>
            </a:r>
            <a:r>
              <a:rPr lang="de-AT" dirty="0"/>
              <a:t> </a:t>
            </a:r>
            <a:r>
              <a:rPr lang="de-AT" dirty="0" err="1"/>
              <a:t>amet</a:t>
            </a:r>
            <a:r>
              <a:rPr lang="de-AT" dirty="0"/>
              <a:t>, </a:t>
            </a:r>
            <a:r>
              <a:rPr lang="de-AT" dirty="0" err="1"/>
              <a:t>consectetur</a:t>
            </a:r>
            <a:r>
              <a:rPr lang="de-AT" dirty="0"/>
              <a:t> </a:t>
            </a:r>
            <a:r>
              <a:rPr lang="de-AT" dirty="0" err="1"/>
              <a:t>adipiscing</a:t>
            </a:r>
            <a:r>
              <a:rPr lang="de-AT" dirty="0"/>
              <a:t> </a:t>
            </a:r>
            <a:r>
              <a:rPr lang="de-AT" dirty="0" err="1"/>
              <a:t>elit</a:t>
            </a:r>
            <a:r>
              <a:rPr lang="de-AT" dirty="0"/>
              <a:t>, sed do </a:t>
            </a:r>
            <a:r>
              <a:rPr lang="de-AT" dirty="0" err="1"/>
              <a:t>eiusmod</a:t>
            </a:r>
            <a:r>
              <a:rPr lang="de-AT" dirty="0"/>
              <a:t> </a:t>
            </a:r>
            <a:r>
              <a:rPr lang="de-AT" dirty="0" err="1"/>
              <a:t>tempor</a:t>
            </a:r>
            <a:r>
              <a:rPr lang="de-AT" dirty="0"/>
              <a:t> </a:t>
            </a:r>
            <a:r>
              <a:rPr lang="de-AT" dirty="0" err="1"/>
              <a:t>incididunt</a:t>
            </a:r>
            <a:r>
              <a:rPr lang="de-AT" dirty="0"/>
              <a:t> </a:t>
            </a:r>
            <a:r>
              <a:rPr lang="de-AT" dirty="0" err="1"/>
              <a:t>ut</a:t>
            </a:r>
            <a:r>
              <a:rPr lang="de-AT" dirty="0"/>
              <a:t> </a:t>
            </a:r>
            <a:r>
              <a:rPr lang="de-AT" dirty="0" err="1"/>
              <a:t>labore</a:t>
            </a:r>
            <a:r>
              <a:rPr lang="de-AT" dirty="0"/>
              <a:t> et </a:t>
            </a:r>
            <a:r>
              <a:rPr lang="de-AT" dirty="0" err="1"/>
              <a:t>dolore</a:t>
            </a:r>
            <a:r>
              <a:rPr lang="de-AT" dirty="0"/>
              <a:t> magna </a:t>
            </a:r>
            <a:r>
              <a:rPr lang="de-AT" dirty="0" err="1"/>
              <a:t>aliqua</a:t>
            </a:r>
            <a:r>
              <a:rPr lang="de-AT" dirty="0"/>
              <a:t>. </a:t>
            </a:r>
            <a:r>
              <a:rPr lang="de-AT" dirty="0" err="1"/>
              <a:t>Ut</a:t>
            </a:r>
            <a:r>
              <a:rPr lang="de-AT" dirty="0"/>
              <a:t> </a:t>
            </a:r>
            <a:r>
              <a:rPr lang="de-AT" dirty="0" err="1"/>
              <a:t>enim</a:t>
            </a:r>
            <a:r>
              <a:rPr lang="de-AT" dirty="0"/>
              <a:t> ad minim </a:t>
            </a:r>
            <a:r>
              <a:rPr lang="de-AT" dirty="0" err="1"/>
              <a:t>veniam</a:t>
            </a:r>
            <a:r>
              <a:rPr lang="de-AT" dirty="0"/>
              <a:t>, </a:t>
            </a:r>
            <a:r>
              <a:rPr lang="de-AT" dirty="0" err="1"/>
              <a:t>quis</a:t>
            </a:r>
            <a:r>
              <a:rPr lang="de-AT" dirty="0"/>
              <a:t> </a:t>
            </a:r>
            <a:r>
              <a:rPr lang="de-AT" dirty="0" err="1"/>
              <a:t>nostrud</a:t>
            </a:r>
            <a:r>
              <a:rPr lang="de-AT" dirty="0"/>
              <a:t> </a:t>
            </a:r>
            <a:r>
              <a:rPr lang="de-AT" dirty="0" err="1"/>
              <a:t>exercitation</a:t>
            </a:r>
            <a:r>
              <a:rPr lang="de-AT" dirty="0"/>
              <a:t> </a:t>
            </a:r>
            <a:r>
              <a:rPr lang="de-AT" dirty="0" err="1"/>
              <a:t>ullamco</a:t>
            </a:r>
            <a:r>
              <a:rPr lang="de-AT" dirty="0"/>
              <a:t> </a:t>
            </a:r>
            <a:r>
              <a:rPr lang="de-AT" dirty="0" err="1"/>
              <a:t>laboris</a:t>
            </a:r>
            <a:r>
              <a:rPr lang="de-AT" dirty="0"/>
              <a:t> nisi </a:t>
            </a:r>
            <a:r>
              <a:rPr lang="de-AT" dirty="0" err="1"/>
              <a:t>ut</a:t>
            </a:r>
            <a:r>
              <a:rPr lang="de-AT" dirty="0"/>
              <a:t> </a:t>
            </a:r>
            <a:r>
              <a:rPr lang="de-AT" dirty="0" err="1"/>
              <a:t>aliquip</a:t>
            </a:r>
            <a:r>
              <a:rPr lang="de-AT" dirty="0"/>
              <a:t> ex </a:t>
            </a:r>
            <a:r>
              <a:rPr lang="de-AT" dirty="0" err="1"/>
              <a:t>ea</a:t>
            </a:r>
            <a:r>
              <a:rPr lang="de-AT" dirty="0"/>
              <a:t> commodo </a:t>
            </a:r>
            <a:r>
              <a:rPr lang="de-AT" dirty="0" err="1"/>
              <a:t>consequat</a:t>
            </a:r>
            <a:r>
              <a:rPr lang="de-AT" dirty="0"/>
              <a:t>. Duis </a:t>
            </a:r>
            <a:r>
              <a:rPr lang="de-AT" dirty="0" err="1"/>
              <a:t>aute</a:t>
            </a:r>
            <a:r>
              <a:rPr lang="de-AT" dirty="0"/>
              <a:t> </a:t>
            </a:r>
            <a:r>
              <a:rPr lang="de-AT" dirty="0" err="1"/>
              <a:t>irure</a:t>
            </a:r>
            <a:r>
              <a:rPr lang="de-AT" dirty="0"/>
              <a:t> </a:t>
            </a:r>
            <a:r>
              <a:rPr lang="de-AT" dirty="0" err="1"/>
              <a:t>dolor</a:t>
            </a:r>
            <a:r>
              <a:rPr lang="de-AT" dirty="0"/>
              <a:t> in </a:t>
            </a:r>
            <a:r>
              <a:rPr lang="de-AT" dirty="0" err="1"/>
              <a:t>reprehenderit</a:t>
            </a:r>
            <a:r>
              <a:rPr lang="de-AT" dirty="0"/>
              <a:t> in </a:t>
            </a:r>
            <a:r>
              <a:rPr lang="de-AT" dirty="0" err="1"/>
              <a:t>voluptate</a:t>
            </a:r>
            <a:r>
              <a:rPr lang="de-AT" dirty="0"/>
              <a:t> </a:t>
            </a:r>
            <a:r>
              <a:rPr lang="de-AT" dirty="0" err="1"/>
              <a:t>velit</a:t>
            </a:r>
            <a:r>
              <a:rPr lang="de-AT" dirty="0"/>
              <a:t> esse </a:t>
            </a:r>
            <a:r>
              <a:rPr lang="de-AT" dirty="0" err="1"/>
              <a:t>cillum</a:t>
            </a:r>
            <a:r>
              <a:rPr lang="de-AT" dirty="0"/>
              <a:t> </a:t>
            </a:r>
            <a:r>
              <a:rPr lang="de-AT" dirty="0" err="1"/>
              <a:t>dolore</a:t>
            </a:r>
            <a:r>
              <a:rPr lang="de-AT" dirty="0"/>
              <a:t> </a:t>
            </a:r>
            <a:r>
              <a:rPr lang="de-AT" dirty="0" err="1"/>
              <a:t>eu</a:t>
            </a:r>
            <a:r>
              <a:rPr lang="de-AT" dirty="0"/>
              <a:t> </a:t>
            </a:r>
            <a:r>
              <a:rPr lang="de-AT" dirty="0" err="1"/>
              <a:t>fugiat</a:t>
            </a:r>
            <a:r>
              <a:rPr lang="de-AT" dirty="0"/>
              <a:t> nulla </a:t>
            </a:r>
            <a:r>
              <a:rPr lang="de-AT" dirty="0" err="1"/>
              <a:t>pariatur</a:t>
            </a:r>
            <a:r>
              <a:rPr lang="de-AT" dirty="0"/>
              <a:t>. </a:t>
            </a:r>
            <a:r>
              <a:rPr lang="de-AT" dirty="0" err="1"/>
              <a:t>Excepteur</a:t>
            </a:r>
            <a:r>
              <a:rPr lang="de-AT" dirty="0"/>
              <a:t> </a:t>
            </a:r>
            <a:r>
              <a:rPr lang="de-AT" dirty="0" err="1"/>
              <a:t>sint</a:t>
            </a:r>
            <a:r>
              <a:rPr lang="de-AT" dirty="0"/>
              <a:t> </a:t>
            </a:r>
            <a:r>
              <a:rPr lang="de-AT" dirty="0" err="1"/>
              <a:t>occaecat</a:t>
            </a:r>
            <a:r>
              <a:rPr lang="de-AT" dirty="0"/>
              <a:t> cupidatat non </a:t>
            </a:r>
            <a:r>
              <a:rPr lang="de-AT" dirty="0" err="1"/>
              <a:t>proident</a:t>
            </a:r>
            <a:r>
              <a:rPr lang="de-AT" dirty="0"/>
              <a:t>, </a:t>
            </a:r>
            <a:r>
              <a:rPr lang="de-AT" dirty="0" err="1"/>
              <a:t>sunt</a:t>
            </a:r>
            <a:r>
              <a:rPr lang="de-AT" dirty="0"/>
              <a:t> in culpa </a:t>
            </a:r>
            <a:r>
              <a:rPr lang="de-AT" dirty="0" err="1"/>
              <a:t>qui</a:t>
            </a:r>
            <a:r>
              <a:rPr lang="de-AT" dirty="0"/>
              <a:t> </a:t>
            </a:r>
            <a:r>
              <a:rPr lang="de-AT" dirty="0" err="1"/>
              <a:t>officia</a:t>
            </a:r>
            <a:r>
              <a:rPr lang="de-AT" dirty="0"/>
              <a:t> </a:t>
            </a:r>
            <a:r>
              <a:rPr lang="de-AT" dirty="0" err="1"/>
              <a:t>deserunt</a:t>
            </a:r>
            <a:r>
              <a:rPr lang="de-AT" dirty="0"/>
              <a:t> </a:t>
            </a:r>
            <a:r>
              <a:rPr lang="de-AT" dirty="0" err="1"/>
              <a:t>mollit</a:t>
            </a:r>
            <a:r>
              <a:rPr lang="de-AT" dirty="0"/>
              <a:t> </a:t>
            </a:r>
            <a:r>
              <a:rPr lang="de-AT" dirty="0" err="1"/>
              <a:t>anim</a:t>
            </a:r>
            <a:r>
              <a:rPr lang="de-AT" dirty="0"/>
              <a:t> </a:t>
            </a:r>
            <a:r>
              <a:rPr lang="de-AT" dirty="0" err="1"/>
              <a:t>id</a:t>
            </a:r>
            <a:r>
              <a:rPr lang="de-AT" dirty="0"/>
              <a:t> </a:t>
            </a:r>
            <a:r>
              <a:rPr lang="de-AT" dirty="0" err="1"/>
              <a:t>est</a:t>
            </a:r>
            <a:r>
              <a:rPr lang="de-AT" dirty="0"/>
              <a:t> </a:t>
            </a:r>
            <a:r>
              <a:rPr lang="de-AT" dirty="0" err="1"/>
              <a:t>laborum</a:t>
            </a:r>
            <a:r>
              <a:rPr lang="de-AT" dirty="0"/>
              <a:t>.</a:t>
            </a:r>
          </a:p>
        </p:txBody>
      </p:sp>
    </p:spTree>
    <p:extLst>
      <p:ext uri="{BB962C8B-B14F-4D97-AF65-F5344CB8AC3E}">
        <p14:creationId xmlns:p14="http://schemas.microsoft.com/office/powerpoint/2010/main" val="3743346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_mit_Bild">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B1D2AB98-D65B-E046-BAA4-A3FB1E60B555}"/>
              </a:ext>
            </a:extLst>
          </p:cNvPr>
          <p:cNvSpPr>
            <a:spLocks noGrp="1"/>
          </p:cNvSpPr>
          <p:nvPr>
            <p:ph type="pic" sz="quarter" idx="10"/>
          </p:nvPr>
        </p:nvSpPr>
        <p:spPr>
          <a:xfrm>
            <a:off x="6534150" y="1150938"/>
            <a:ext cx="5657850" cy="4511675"/>
          </a:xfrm>
          <a:prstGeom prst="rect">
            <a:avLst/>
          </a:prstGeom>
        </p:spPr>
        <p:txBody>
          <a:bodyPr/>
          <a:lstStyle/>
          <a:p>
            <a:r>
              <a:rPr lang="de-DE"/>
              <a:t>Bild durch Klicken auf Symbol hinzufügen</a:t>
            </a:r>
          </a:p>
        </p:txBody>
      </p:sp>
      <p:sp>
        <p:nvSpPr>
          <p:cNvPr id="8" name="Textplatzhalter 7">
            <a:extLst>
              <a:ext uri="{FF2B5EF4-FFF2-40B4-BE49-F238E27FC236}">
                <a16:creationId xmlns:a16="http://schemas.microsoft.com/office/drawing/2014/main" id="{9F8E740F-3AE1-0248-8B3B-2A4AFD6B6775}"/>
              </a:ext>
            </a:extLst>
          </p:cNvPr>
          <p:cNvSpPr>
            <a:spLocks noGrp="1"/>
          </p:cNvSpPr>
          <p:nvPr>
            <p:ph type="body" sz="quarter" idx="11"/>
          </p:nvPr>
        </p:nvSpPr>
        <p:spPr>
          <a:xfrm>
            <a:off x="720725" y="1881981"/>
            <a:ext cx="5133975" cy="3094038"/>
          </a:xfrm>
          <a:prstGeom prst="rect">
            <a:avLst/>
          </a:prstGeom>
        </p:spPr>
        <p:txBody>
          <a:bodyPr anchor="ctr"/>
          <a:lstStyle>
            <a:lvl1pPr marL="0" indent="0">
              <a:buNone/>
              <a:defRPr sz="4800">
                <a:latin typeface="Century" panose="02040604050505020304" pitchFamily="18" charset="0"/>
              </a:defRPr>
            </a:lvl1pPr>
          </a:lstStyle>
          <a:p>
            <a:pPr lvl="0"/>
            <a:r>
              <a:rPr lang="de-DE"/>
              <a:t>Mastertextformat bearbeiten</a:t>
            </a:r>
          </a:p>
        </p:txBody>
      </p:sp>
    </p:spTree>
    <p:extLst>
      <p:ext uri="{BB962C8B-B14F-4D97-AF65-F5344CB8AC3E}">
        <p14:creationId xmlns:p14="http://schemas.microsoft.com/office/powerpoint/2010/main" val="2299473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BBEFD1-80D0-45B2-8F96-24D9E400142D}"/>
              </a:ext>
            </a:extLst>
          </p:cNvPr>
          <p:cNvSpPr>
            <a:spLocks noGrp="1"/>
          </p:cNvSpPr>
          <p:nvPr>
            <p:ph type="title"/>
          </p:nvPr>
        </p:nvSpPr>
        <p:spPr/>
        <p:txBody>
          <a:bodyPr/>
          <a:lstStyle/>
          <a:p>
            <a:r>
              <a:rPr lang="de-DE"/>
              <a:t>Mastertitelformat bearbeiten</a:t>
            </a:r>
            <a:endParaRPr lang="de-AT"/>
          </a:p>
        </p:txBody>
      </p:sp>
      <p:sp>
        <p:nvSpPr>
          <p:cNvPr id="3" name="Fußzeilenplatzhalter 2">
            <a:extLst>
              <a:ext uri="{FF2B5EF4-FFF2-40B4-BE49-F238E27FC236}">
                <a16:creationId xmlns:a16="http://schemas.microsoft.com/office/drawing/2014/main" id="{8FF51082-F656-4B68-8B08-5DC08B2A3EFD}"/>
              </a:ext>
            </a:extLst>
          </p:cNvPr>
          <p:cNvSpPr>
            <a:spLocks noGrp="1"/>
          </p:cNvSpPr>
          <p:nvPr>
            <p:ph type="ftr" sz="quarter" idx="10"/>
          </p:nvPr>
        </p:nvSpPr>
        <p:spPr/>
        <p:txBody>
          <a:bodyPr/>
          <a:lstStyle/>
          <a:p>
            <a:endParaRPr lang="de-AT"/>
          </a:p>
        </p:txBody>
      </p:sp>
      <p:sp>
        <p:nvSpPr>
          <p:cNvPr id="4" name="Foliennummernplatzhalter 3">
            <a:extLst>
              <a:ext uri="{FF2B5EF4-FFF2-40B4-BE49-F238E27FC236}">
                <a16:creationId xmlns:a16="http://schemas.microsoft.com/office/drawing/2014/main" id="{414F1E48-316E-4F1A-8BC9-948F9CA05D58}"/>
              </a:ext>
            </a:extLst>
          </p:cNvPr>
          <p:cNvSpPr>
            <a:spLocks noGrp="1"/>
          </p:cNvSpPr>
          <p:nvPr>
            <p:ph type="sldNum" sz="quarter" idx="11"/>
          </p:nvPr>
        </p:nvSpPr>
        <p:spPr/>
        <p:txBody>
          <a:bodyPr/>
          <a:lstStyle/>
          <a:p>
            <a:fld id="{23A8C71E-D222-49FC-9304-2DE29525E0AD}" type="slidenum">
              <a:rPr lang="de-AT" smtClean="0"/>
              <a:t>‹Nr.›</a:t>
            </a:fld>
            <a:endParaRPr lang="de-AT"/>
          </a:p>
        </p:txBody>
      </p:sp>
      <p:sp>
        <p:nvSpPr>
          <p:cNvPr id="6" name="Bildplatzhalter 5">
            <a:extLst>
              <a:ext uri="{FF2B5EF4-FFF2-40B4-BE49-F238E27FC236}">
                <a16:creationId xmlns:a16="http://schemas.microsoft.com/office/drawing/2014/main" id="{5D24EE12-8ED1-4F4A-B9D2-5936D9DDC296}"/>
              </a:ext>
            </a:extLst>
          </p:cNvPr>
          <p:cNvSpPr>
            <a:spLocks noGrp="1"/>
          </p:cNvSpPr>
          <p:nvPr>
            <p:ph type="pic" sz="quarter" idx="12"/>
          </p:nvPr>
        </p:nvSpPr>
        <p:spPr>
          <a:xfrm>
            <a:off x="2105025" y="1514475"/>
            <a:ext cx="7956598" cy="4410075"/>
          </a:xfrm>
          <a:prstGeom prst="rect">
            <a:avLst/>
          </a:prstGeom>
        </p:spPr>
        <p:txBody>
          <a:bodyPr/>
          <a:lstStyle/>
          <a:p>
            <a:endParaRPr lang="de-AT"/>
          </a:p>
        </p:txBody>
      </p:sp>
    </p:spTree>
    <p:extLst>
      <p:ext uri="{BB962C8B-B14F-4D97-AF65-F5344CB8AC3E}">
        <p14:creationId xmlns:p14="http://schemas.microsoft.com/office/powerpoint/2010/main" val="1048816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B1D2AB98-D65B-E046-BAA4-A3FB1E60B555}"/>
              </a:ext>
            </a:extLst>
          </p:cNvPr>
          <p:cNvSpPr>
            <a:spLocks noGrp="1"/>
          </p:cNvSpPr>
          <p:nvPr>
            <p:ph type="pic" sz="quarter" idx="10"/>
          </p:nvPr>
        </p:nvSpPr>
        <p:spPr>
          <a:xfrm>
            <a:off x="6534150" y="1150938"/>
            <a:ext cx="5657850" cy="4511675"/>
          </a:xfrm>
          <a:prstGeom prst="rect">
            <a:avLst/>
          </a:prstGeom>
        </p:spPr>
        <p:txBody>
          <a:bodyPr/>
          <a:lstStyle/>
          <a:p>
            <a:endParaRPr lang="de-DE"/>
          </a:p>
        </p:txBody>
      </p:sp>
      <p:sp>
        <p:nvSpPr>
          <p:cNvPr id="8" name="Textplatzhalter 7">
            <a:extLst>
              <a:ext uri="{FF2B5EF4-FFF2-40B4-BE49-F238E27FC236}">
                <a16:creationId xmlns:a16="http://schemas.microsoft.com/office/drawing/2014/main" id="{9F8E740F-3AE1-0248-8B3B-2A4AFD6B6775}"/>
              </a:ext>
            </a:extLst>
          </p:cNvPr>
          <p:cNvSpPr>
            <a:spLocks noGrp="1"/>
          </p:cNvSpPr>
          <p:nvPr>
            <p:ph type="body" sz="quarter" idx="11"/>
          </p:nvPr>
        </p:nvSpPr>
        <p:spPr>
          <a:xfrm>
            <a:off x="720725" y="1881981"/>
            <a:ext cx="5133975" cy="3094038"/>
          </a:xfrm>
          <a:prstGeom prst="rect">
            <a:avLst/>
          </a:prstGeom>
        </p:spPr>
        <p:txBody>
          <a:bodyPr anchor="ctr"/>
          <a:lstStyle>
            <a:lvl1pPr marL="0" indent="0">
              <a:buNone/>
              <a:defRPr sz="4800">
                <a:latin typeface="Century" panose="02040604050505020304" pitchFamily="18" charset="0"/>
              </a:defRPr>
            </a:lvl1pPr>
          </a:lstStyle>
          <a:p>
            <a:pPr lvl="0"/>
            <a:r>
              <a:rPr lang="de-DE"/>
              <a:t>Mastertextformat bearbeiten</a:t>
            </a:r>
          </a:p>
        </p:txBody>
      </p:sp>
      <p:sp>
        <p:nvSpPr>
          <p:cNvPr id="5" name="Bildplatzhalter 4">
            <a:extLst>
              <a:ext uri="{FF2B5EF4-FFF2-40B4-BE49-F238E27FC236}">
                <a16:creationId xmlns:a16="http://schemas.microsoft.com/office/drawing/2014/main" id="{5C92B56E-D1D4-4232-BB9C-1BC3AD2AD01C}"/>
              </a:ext>
            </a:extLst>
          </p:cNvPr>
          <p:cNvSpPr>
            <a:spLocks noGrp="1"/>
          </p:cNvSpPr>
          <p:nvPr>
            <p:ph type="pic" sz="quarter" idx="12" hasCustomPrompt="1"/>
          </p:nvPr>
        </p:nvSpPr>
        <p:spPr>
          <a:xfrm>
            <a:off x="720725" y="385581"/>
            <a:ext cx="1384634" cy="1212850"/>
          </a:xfrm>
          <a:prstGeom prst="rect">
            <a:avLst/>
          </a:prstGeom>
        </p:spPr>
        <p:txBody>
          <a:bodyPr/>
          <a:lstStyle>
            <a:lvl1pPr marL="0" indent="0">
              <a:buNone/>
              <a:defRPr sz="1800"/>
            </a:lvl1pPr>
          </a:lstStyle>
          <a:p>
            <a:r>
              <a:rPr lang="de-DE" dirty="0" err="1"/>
              <a:t>CompanyLogo</a:t>
            </a:r>
            <a:endParaRPr lang="de-DE" dirty="0"/>
          </a:p>
        </p:txBody>
      </p:sp>
    </p:spTree>
    <p:extLst>
      <p:ext uri="{BB962C8B-B14F-4D97-AF65-F5344CB8AC3E}">
        <p14:creationId xmlns:p14="http://schemas.microsoft.com/office/powerpoint/2010/main" val="29076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A3BB5447-2D21-574A-B858-B0AD0CEAE2E2}"/>
              </a:ext>
            </a:extLst>
          </p:cNvPr>
          <p:cNvSpPr>
            <a:spLocks noGrp="1"/>
          </p:cNvSpPr>
          <p:nvPr>
            <p:ph type="body" sz="quarter" idx="10"/>
          </p:nvPr>
        </p:nvSpPr>
        <p:spPr>
          <a:xfrm>
            <a:off x="573121" y="1735382"/>
            <a:ext cx="5890928" cy="1603375"/>
          </a:xfrm>
          <a:prstGeom prst="rect">
            <a:avLst/>
          </a:prstGeom>
        </p:spPr>
        <p:txBody>
          <a:bodyPr/>
          <a:lstStyle>
            <a:lvl1pPr marL="0" indent="0" algn="r">
              <a:buNone/>
              <a:defRPr sz="4800">
                <a:latin typeface="Century" panose="02040604050505020304" pitchFamily="18" charset="0"/>
              </a:defRPr>
            </a:lvl1pPr>
          </a:lstStyle>
          <a:p>
            <a:pPr lvl="0"/>
            <a:r>
              <a:rPr lang="de-DE"/>
              <a:t>Mastertextformat bearbeiten</a:t>
            </a:r>
          </a:p>
        </p:txBody>
      </p:sp>
      <p:sp>
        <p:nvSpPr>
          <p:cNvPr id="10" name="Textplatzhalter 9">
            <a:extLst>
              <a:ext uri="{FF2B5EF4-FFF2-40B4-BE49-F238E27FC236}">
                <a16:creationId xmlns:a16="http://schemas.microsoft.com/office/drawing/2014/main" id="{4CBEDC36-3551-1F43-8840-865D4F4F9DFB}"/>
              </a:ext>
            </a:extLst>
          </p:cNvPr>
          <p:cNvSpPr>
            <a:spLocks noGrp="1"/>
          </p:cNvSpPr>
          <p:nvPr>
            <p:ph type="body" sz="quarter" idx="11"/>
          </p:nvPr>
        </p:nvSpPr>
        <p:spPr>
          <a:xfrm>
            <a:off x="4992688" y="3519244"/>
            <a:ext cx="5548312" cy="1925881"/>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a:t>Mastertextformat bearbeiten</a:t>
            </a:r>
          </a:p>
        </p:txBody>
      </p:sp>
    </p:spTree>
    <p:extLst>
      <p:ext uri="{BB962C8B-B14F-4D97-AF65-F5344CB8AC3E}">
        <p14:creationId xmlns:p14="http://schemas.microsoft.com/office/powerpoint/2010/main" val="66110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extboxen_1">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A3BB5447-2D21-574A-B858-B0AD0CEAE2E2}"/>
              </a:ext>
            </a:extLst>
          </p:cNvPr>
          <p:cNvSpPr>
            <a:spLocks noGrp="1"/>
          </p:cNvSpPr>
          <p:nvPr>
            <p:ph type="body" sz="quarter" idx="10"/>
          </p:nvPr>
        </p:nvSpPr>
        <p:spPr>
          <a:xfrm>
            <a:off x="573121" y="1735382"/>
            <a:ext cx="5890928" cy="1603375"/>
          </a:xfrm>
          <a:prstGeom prst="rect">
            <a:avLst/>
          </a:prstGeom>
        </p:spPr>
        <p:txBody>
          <a:bodyPr/>
          <a:lstStyle>
            <a:lvl1pPr marL="0" indent="0" algn="r">
              <a:buNone/>
              <a:defRPr sz="4800">
                <a:latin typeface="Century" panose="02040604050505020304" pitchFamily="18" charset="0"/>
              </a:defRPr>
            </a:lvl1pPr>
          </a:lstStyle>
          <a:p>
            <a:pPr lvl="0"/>
            <a:r>
              <a:rPr lang="de-DE" dirty="0"/>
              <a:t>Mastertextformat bearbeiten</a:t>
            </a:r>
          </a:p>
        </p:txBody>
      </p:sp>
      <p:sp>
        <p:nvSpPr>
          <p:cNvPr id="2" name="Titel 1">
            <a:extLst>
              <a:ext uri="{FF2B5EF4-FFF2-40B4-BE49-F238E27FC236}">
                <a16:creationId xmlns:a16="http://schemas.microsoft.com/office/drawing/2014/main" id="{DFBD7193-A328-8544-8654-A52389E671D3}"/>
              </a:ext>
            </a:extLst>
          </p:cNvPr>
          <p:cNvSpPr>
            <a:spLocks noGrp="1"/>
          </p:cNvSpPr>
          <p:nvPr>
            <p:ph type="title"/>
          </p:nvPr>
        </p:nvSpPr>
        <p:spPr/>
        <p:txBody>
          <a:bodyPr/>
          <a:lstStyle/>
          <a:p>
            <a:r>
              <a:rPr lang="de-DE"/>
              <a:t>Mastertitelformat bearbeiten</a:t>
            </a:r>
          </a:p>
        </p:txBody>
      </p:sp>
      <p:sp>
        <p:nvSpPr>
          <p:cNvPr id="10" name="Textplatzhalter 9">
            <a:extLst>
              <a:ext uri="{FF2B5EF4-FFF2-40B4-BE49-F238E27FC236}">
                <a16:creationId xmlns:a16="http://schemas.microsoft.com/office/drawing/2014/main" id="{4CBEDC36-3551-1F43-8840-865D4F4F9DFB}"/>
              </a:ext>
            </a:extLst>
          </p:cNvPr>
          <p:cNvSpPr>
            <a:spLocks noGrp="1"/>
          </p:cNvSpPr>
          <p:nvPr>
            <p:ph type="body" sz="quarter" idx="11"/>
          </p:nvPr>
        </p:nvSpPr>
        <p:spPr>
          <a:xfrm>
            <a:off x="4992688" y="3519244"/>
            <a:ext cx="5548312" cy="1925881"/>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4" name="Fußzeilenplatzhalter 3">
            <a:extLst>
              <a:ext uri="{FF2B5EF4-FFF2-40B4-BE49-F238E27FC236}">
                <a16:creationId xmlns:a16="http://schemas.microsoft.com/office/drawing/2014/main" id="{3CCCFD6B-C855-4334-81C3-D01A22C51B01}"/>
              </a:ext>
            </a:extLst>
          </p:cNvPr>
          <p:cNvSpPr>
            <a:spLocks noGrp="1"/>
          </p:cNvSpPr>
          <p:nvPr>
            <p:ph type="ftr" sz="quarter" idx="13"/>
          </p:nvPr>
        </p:nvSpPr>
        <p:spPr/>
        <p:txBody>
          <a:bodyPr/>
          <a:lstStyle/>
          <a:p>
            <a:endParaRPr lang="de-AT" dirty="0"/>
          </a:p>
        </p:txBody>
      </p:sp>
      <p:sp>
        <p:nvSpPr>
          <p:cNvPr id="5" name="Foliennummernplatzhalter 4">
            <a:extLst>
              <a:ext uri="{FF2B5EF4-FFF2-40B4-BE49-F238E27FC236}">
                <a16:creationId xmlns:a16="http://schemas.microsoft.com/office/drawing/2014/main" id="{9508DF9B-88B1-4FDE-A693-23E6E00AA176}"/>
              </a:ext>
            </a:extLst>
          </p:cNvPr>
          <p:cNvSpPr>
            <a:spLocks noGrp="1"/>
          </p:cNvSpPr>
          <p:nvPr>
            <p:ph type="sldNum" sz="quarter" idx="14"/>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4521298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_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087F2B-62DB-8645-83C1-74ED69A4EA33}"/>
              </a:ext>
            </a:extLst>
          </p:cNvPr>
          <p:cNvSpPr>
            <a:spLocks noGrp="1"/>
          </p:cNvSpPr>
          <p:nvPr>
            <p:ph type="title"/>
          </p:nvPr>
        </p:nvSpPr>
        <p:spPr>
          <a:xfrm>
            <a:off x="640818" y="357339"/>
            <a:ext cx="8938226" cy="759482"/>
          </a:xfrm>
          <a:prstGeom prst="rect">
            <a:avLst/>
          </a:prstGeom>
        </p:spPr>
        <p:txBody>
          <a:bodyPr/>
          <a:lstStyle/>
          <a:p>
            <a:r>
              <a:rPr lang="de-DE" dirty="0"/>
              <a:t>Mastertitelformat bearbeiten</a:t>
            </a:r>
          </a:p>
        </p:txBody>
      </p:sp>
      <p:sp>
        <p:nvSpPr>
          <p:cNvPr id="3" name="Inhaltsplatzhalter 2">
            <a:extLst>
              <a:ext uri="{FF2B5EF4-FFF2-40B4-BE49-F238E27FC236}">
                <a16:creationId xmlns:a16="http://schemas.microsoft.com/office/drawing/2014/main" id="{057AFB37-2E53-C440-B377-FF6A69D69483}"/>
              </a:ext>
            </a:extLst>
          </p:cNvPr>
          <p:cNvSpPr>
            <a:spLocks noGrp="1"/>
          </p:cNvSpPr>
          <p:nvPr>
            <p:ph idx="1"/>
          </p:nvPr>
        </p:nvSpPr>
        <p:spPr>
          <a:xfrm>
            <a:off x="640818" y="1599665"/>
            <a:ext cx="10712982" cy="4467759"/>
          </a:xfrm>
          <a:prstGeom prst="rect">
            <a:avLst/>
          </a:prstGeom>
        </p:spPr>
        <p:txBody>
          <a:bodyPr/>
          <a:lstStyle>
            <a:lvl1pPr marL="457200" indent="-457200">
              <a:buFont typeface="+mj-lt"/>
              <a:buAutoNum type="arabicPeriod"/>
              <a:defRPr sz="2400" b="0" i="0">
                <a:latin typeface="Microsoft Sans Serif" panose="020B0604020202020204" pitchFamily="34" charset="0"/>
              </a:defRPr>
            </a:lvl1pPr>
            <a:lvl2pPr marL="628650" indent="-361950">
              <a:buFont typeface="+mj-lt"/>
              <a:buAutoNum type="arabicPeriod"/>
              <a:defRPr sz="2200" b="0" i="0">
                <a:latin typeface="Microsoft Sans Serif" panose="020B0604020202020204" pitchFamily="34" charset="0"/>
              </a:defRPr>
            </a:lvl2pPr>
            <a:lvl3pPr marL="895350" indent="-266700">
              <a:buFont typeface="+mj-lt"/>
              <a:buAutoNum type="arabicPeriod"/>
              <a:defRPr sz="1800" b="0" i="0">
                <a:latin typeface="Microsoft Sans Serif" panose="020B0604020202020204" pitchFamily="34" charset="0"/>
              </a:defRPr>
            </a:lvl3pPr>
            <a:lvl4pPr marL="1162050" indent="-266700">
              <a:buFont typeface="+mj-lt"/>
              <a:buAutoNum type="arabicPeriod"/>
              <a:defRPr sz="1800" b="0" i="0">
                <a:latin typeface="Microsoft Sans Serif" panose="020B0604020202020204" pitchFamily="34" charset="0"/>
              </a:defRPr>
            </a:lvl4pPr>
            <a:lvl5pPr marL="1438275" indent="-276225">
              <a:buFont typeface="+mj-lt"/>
              <a:buAutoNum type="arabicPeriod"/>
              <a:defRPr sz="1800" b="0" i="0">
                <a:latin typeface="Microsoft Sans Serif"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a:extLst>
              <a:ext uri="{FF2B5EF4-FFF2-40B4-BE49-F238E27FC236}">
                <a16:creationId xmlns:a16="http://schemas.microsoft.com/office/drawing/2014/main" id="{68442ECC-8D17-4922-A595-570F50A5BCAC}"/>
              </a:ext>
            </a:extLst>
          </p:cNvPr>
          <p:cNvSpPr>
            <a:spLocks noGrp="1"/>
          </p:cNvSpPr>
          <p:nvPr>
            <p:ph type="ftr" sz="quarter" idx="13"/>
          </p:nvPr>
        </p:nvSpPr>
        <p:spPr>
          <a:xfrm>
            <a:off x="4038600" y="6420358"/>
            <a:ext cx="4114800" cy="365125"/>
          </a:xfrm>
        </p:spPr>
        <p:txBody>
          <a:bodyPr/>
          <a:lstStyle/>
          <a:p>
            <a:endParaRPr lang="de-AT" dirty="0"/>
          </a:p>
        </p:txBody>
      </p:sp>
      <p:sp>
        <p:nvSpPr>
          <p:cNvPr id="8" name="Foliennummernplatzhalter 4">
            <a:extLst>
              <a:ext uri="{FF2B5EF4-FFF2-40B4-BE49-F238E27FC236}">
                <a16:creationId xmlns:a16="http://schemas.microsoft.com/office/drawing/2014/main" id="{6C264A5C-D18E-4AD2-BB05-8D8C514C003E}"/>
              </a:ext>
            </a:extLst>
          </p:cNvPr>
          <p:cNvSpPr>
            <a:spLocks noGrp="1"/>
          </p:cNvSpPr>
          <p:nvPr>
            <p:ph type="sldNum" sz="quarter" idx="14"/>
          </p:nvPr>
        </p:nvSpPr>
        <p:spPr>
          <a:xfrm>
            <a:off x="8610600" y="6420358"/>
            <a:ext cx="2743200" cy="365125"/>
          </a:xfrm>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28345992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3000"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493484" y="295683"/>
            <a:ext cx="9231541"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20" name="Text Placeholder 19"/>
          <p:cNvSpPr>
            <a:spLocks noGrp="1"/>
          </p:cNvSpPr>
          <p:nvPr>
            <p:ph type="body" sz="quarter" idx="14"/>
          </p:nvPr>
        </p:nvSpPr>
        <p:spPr>
          <a:xfrm>
            <a:off x="494400" y="1810800"/>
            <a:ext cx="10764150" cy="4282025"/>
          </a:xfrm>
        </p:spPr>
        <p:txBody>
          <a:bodyPr/>
          <a:lstStyle>
            <a:lvl1pPr>
              <a:defRPr>
                <a:latin typeface="Microsoft GothicNeo" panose="020B0500000101010101" pitchFamily="34" charset="-127"/>
                <a:ea typeface="Microsoft GothicNeo" panose="020B0500000101010101" pitchFamily="34" charset="-127"/>
                <a:cs typeface="Microsoft GothicNeo" panose="020B0500000101010101" pitchFamily="34" charset="-127"/>
              </a:defRPr>
            </a:lvl1pPr>
            <a:lvl2pPr marL="542925" indent="-276225">
              <a:defRPr>
                <a:latin typeface="Microsoft GothicNeo" panose="020B0500000101010101" pitchFamily="34" charset="-127"/>
                <a:ea typeface="Microsoft GothicNeo" panose="020B0500000101010101" pitchFamily="34" charset="-127"/>
                <a:cs typeface="Microsoft GothicNeo" panose="020B0500000101010101" pitchFamily="34" charset="-127"/>
              </a:defRPr>
            </a:lvl2pPr>
            <a:lvl3pPr marL="809625" indent="-266700">
              <a:defRPr>
                <a:latin typeface="Microsoft GothicNeo" panose="020B0500000101010101" pitchFamily="34" charset="-127"/>
                <a:ea typeface="Microsoft GothicNeo" panose="020B0500000101010101" pitchFamily="34" charset="-127"/>
                <a:cs typeface="Microsoft GothicNeo" panose="020B0500000101010101" pitchFamily="34" charset="-127"/>
              </a:defRPr>
            </a:lvl3pPr>
            <a:lvl4pPr marL="1076325" indent="-266700">
              <a:defRPr>
                <a:latin typeface="Microsoft GothicNeo" panose="020B0500000101010101" pitchFamily="34" charset="-127"/>
                <a:ea typeface="Microsoft GothicNeo" panose="020B0500000101010101" pitchFamily="34" charset="-127"/>
                <a:cs typeface="Microsoft GothicNeo" panose="020B0500000101010101" pitchFamily="34" charset="-127"/>
              </a:defRPr>
            </a:lvl4pPr>
            <a:lvl5pPr marL="1343025" indent="-266700">
              <a:defRPr>
                <a:latin typeface="Microsoft GothicNeo" panose="020B0500000101010101" pitchFamily="34" charset="-127"/>
                <a:ea typeface="Microsoft GothicNeo" panose="020B0500000101010101" pitchFamily="34" charset="-127"/>
                <a:cs typeface="Microsoft GothicNeo" panose="020B0500000101010101" pitchFamily="34" charset="-12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ußzeilenplatzhalter 3">
            <a:extLst>
              <a:ext uri="{FF2B5EF4-FFF2-40B4-BE49-F238E27FC236}">
                <a16:creationId xmlns:a16="http://schemas.microsoft.com/office/drawing/2014/main" id="{880F13CC-F43B-40AC-9F2C-EBEF2EB674E5}"/>
              </a:ext>
            </a:extLst>
          </p:cNvPr>
          <p:cNvSpPr>
            <a:spLocks noGrp="1"/>
          </p:cNvSpPr>
          <p:nvPr>
            <p:ph type="ftr" sz="quarter" idx="15"/>
          </p:nvPr>
        </p:nvSpPr>
        <p:spPr>
          <a:xfrm>
            <a:off x="4038600" y="6420358"/>
            <a:ext cx="4114800" cy="365125"/>
          </a:xfrm>
        </p:spPr>
        <p:txBody>
          <a:bodyPr/>
          <a:lstStyle/>
          <a:p>
            <a:endParaRPr lang="de-AT" dirty="0"/>
          </a:p>
        </p:txBody>
      </p:sp>
      <p:sp>
        <p:nvSpPr>
          <p:cNvPr id="8" name="Foliennummernplatzhalter 4">
            <a:extLst>
              <a:ext uri="{FF2B5EF4-FFF2-40B4-BE49-F238E27FC236}">
                <a16:creationId xmlns:a16="http://schemas.microsoft.com/office/drawing/2014/main" id="{BDB8E774-E659-4CAA-8032-CF53A07CA530}"/>
              </a:ext>
            </a:extLst>
          </p:cNvPr>
          <p:cNvSpPr>
            <a:spLocks noGrp="1"/>
          </p:cNvSpPr>
          <p:nvPr>
            <p:ph type="sldNum" sz="quarter" idx="16"/>
          </p:nvPr>
        </p:nvSpPr>
        <p:spPr>
          <a:xfrm>
            <a:off x="8610600" y="6420358"/>
            <a:ext cx="2743200" cy="365125"/>
          </a:xfrm>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425350701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extboxen_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583B66-5148-FC41-8F98-265132AEAD50}"/>
              </a:ext>
            </a:extLst>
          </p:cNvPr>
          <p:cNvSpPr>
            <a:spLocks noGrp="1"/>
          </p:cNvSpPr>
          <p:nvPr>
            <p:ph type="title"/>
          </p:nvPr>
        </p:nvSpPr>
        <p:spPr/>
        <p:txBody>
          <a:bodyPr/>
          <a:lstStyle/>
          <a:p>
            <a:r>
              <a:rPr lang="de-DE"/>
              <a:t>Mastertitelformat bearbeiten</a:t>
            </a:r>
          </a:p>
        </p:txBody>
      </p:sp>
      <p:sp>
        <p:nvSpPr>
          <p:cNvPr id="6" name="Textplatzhalter 5">
            <a:extLst>
              <a:ext uri="{FF2B5EF4-FFF2-40B4-BE49-F238E27FC236}">
                <a16:creationId xmlns:a16="http://schemas.microsoft.com/office/drawing/2014/main" id="{7EDC40F9-7A8A-454D-9AFE-A84E2EA81214}"/>
              </a:ext>
            </a:extLst>
          </p:cNvPr>
          <p:cNvSpPr>
            <a:spLocks noGrp="1"/>
          </p:cNvSpPr>
          <p:nvPr>
            <p:ph type="body" sz="quarter" idx="10"/>
          </p:nvPr>
        </p:nvSpPr>
        <p:spPr>
          <a:xfrm>
            <a:off x="804421" y="2012950"/>
            <a:ext cx="10461625" cy="1674813"/>
          </a:xfrm>
          <a:prstGeom prst="rect">
            <a:avLst/>
          </a:prstGeom>
        </p:spPr>
        <p:txBody>
          <a:bodyPr/>
          <a:lstStyle>
            <a:lvl1pPr marL="0" indent="0">
              <a:buNone/>
              <a:defRPr sz="6000">
                <a:latin typeface="Century" panose="02040604050505020304" pitchFamily="18" charset="0"/>
              </a:defRPr>
            </a:lvl1pPr>
          </a:lstStyle>
          <a:p>
            <a:pPr lvl="0"/>
            <a:r>
              <a:rPr lang="de-DE" dirty="0"/>
              <a:t>Mastertextformat bearbeiten</a:t>
            </a:r>
          </a:p>
        </p:txBody>
      </p:sp>
      <p:sp>
        <p:nvSpPr>
          <p:cNvPr id="7" name="Textplatzhalter 9">
            <a:extLst>
              <a:ext uri="{FF2B5EF4-FFF2-40B4-BE49-F238E27FC236}">
                <a16:creationId xmlns:a16="http://schemas.microsoft.com/office/drawing/2014/main" id="{DBA2242F-127D-BF45-A50D-3B9F82B1E2DA}"/>
              </a:ext>
            </a:extLst>
          </p:cNvPr>
          <p:cNvSpPr>
            <a:spLocks noGrp="1"/>
          </p:cNvSpPr>
          <p:nvPr>
            <p:ph type="body" sz="quarter" idx="11"/>
          </p:nvPr>
        </p:nvSpPr>
        <p:spPr>
          <a:xfrm>
            <a:off x="804420" y="4035807"/>
            <a:ext cx="10461625" cy="1758818"/>
          </a:xfrm>
          <a:prstGeom prst="rect">
            <a:avLst/>
          </a:prstGeom>
        </p:spPr>
        <p:txBody>
          <a:bodyPr/>
          <a:lstStyle>
            <a:lvl1pPr marL="0" indent="0">
              <a:buNone/>
              <a:defRPr sz="1400">
                <a:latin typeface="Microsoft Sans Serif" panose="020B0604020202020204" pitchFamily="34" charset="0"/>
                <a:cs typeface="Microsoft Sans Serif" panose="020B0604020202020204" pitchFamily="34" charset="0"/>
              </a:defRPr>
            </a:lvl1pPr>
          </a:lstStyle>
          <a:p>
            <a:pPr lvl="0"/>
            <a:r>
              <a:rPr lang="de-DE" dirty="0"/>
              <a:t>Mastertextformat bearbeiten</a:t>
            </a:r>
          </a:p>
        </p:txBody>
      </p:sp>
      <p:sp>
        <p:nvSpPr>
          <p:cNvPr id="4" name="Fußzeilenplatzhalter 3">
            <a:extLst>
              <a:ext uri="{FF2B5EF4-FFF2-40B4-BE49-F238E27FC236}">
                <a16:creationId xmlns:a16="http://schemas.microsoft.com/office/drawing/2014/main" id="{16C052DE-2926-4712-8AE7-6BBB23C27243}"/>
              </a:ext>
            </a:extLst>
          </p:cNvPr>
          <p:cNvSpPr>
            <a:spLocks noGrp="1"/>
          </p:cNvSpPr>
          <p:nvPr>
            <p:ph type="ftr" sz="quarter" idx="13"/>
          </p:nvPr>
        </p:nvSpPr>
        <p:spPr/>
        <p:txBody>
          <a:bodyPr/>
          <a:lstStyle/>
          <a:p>
            <a:endParaRPr lang="de-AT"/>
          </a:p>
        </p:txBody>
      </p:sp>
      <p:sp>
        <p:nvSpPr>
          <p:cNvPr id="5" name="Foliennummernplatzhalter 4">
            <a:extLst>
              <a:ext uri="{FF2B5EF4-FFF2-40B4-BE49-F238E27FC236}">
                <a16:creationId xmlns:a16="http://schemas.microsoft.com/office/drawing/2014/main" id="{9C7588BB-C2C4-4952-BC51-7DDFF6F01A6E}"/>
              </a:ext>
            </a:extLst>
          </p:cNvPr>
          <p:cNvSpPr>
            <a:spLocks noGrp="1"/>
          </p:cNvSpPr>
          <p:nvPr>
            <p:ph type="sldNum" sz="quarter" idx="14"/>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1792701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ext_und_Bild_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CAA50B-2EAE-C646-88E5-4C9070F6D9AC}"/>
              </a:ext>
            </a:extLst>
          </p:cNvPr>
          <p:cNvSpPr>
            <a:spLocks noGrp="1"/>
          </p:cNvSpPr>
          <p:nvPr>
            <p:ph type="title"/>
          </p:nvPr>
        </p:nvSpPr>
        <p:spPr/>
        <p:txBody>
          <a:bodyPr/>
          <a:lstStyle/>
          <a:p>
            <a:r>
              <a:rPr lang="de-DE"/>
              <a:t>Mastertitelformat bearbeiten</a:t>
            </a:r>
          </a:p>
        </p:txBody>
      </p:sp>
      <p:sp>
        <p:nvSpPr>
          <p:cNvPr id="5" name="Textplatzhalter 5">
            <a:extLst>
              <a:ext uri="{FF2B5EF4-FFF2-40B4-BE49-F238E27FC236}">
                <a16:creationId xmlns:a16="http://schemas.microsoft.com/office/drawing/2014/main" id="{C9C9F97A-0AA0-B44E-8750-588FCD5DCA17}"/>
              </a:ext>
            </a:extLst>
          </p:cNvPr>
          <p:cNvSpPr>
            <a:spLocks noGrp="1"/>
          </p:cNvSpPr>
          <p:nvPr>
            <p:ph type="body" sz="quarter" idx="10"/>
          </p:nvPr>
        </p:nvSpPr>
        <p:spPr>
          <a:xfrm>
            <a:off x="804421" y="2591593"/>
            <a:ext cx="5750491" cy="1674813"/>
          </a:xfrm>
          <a:prstGeom prst="rect">
            <a:avLst/>
          </a:prstGeom>
        </p:spPr>
        <p:txBody>
          <a:bodyPr/>
          <a:lstStyle>
            <a:lvl1pPr marL="0" indent="0">
              <a:buNone/>
              <a:defRPr sz="6000">
                <a:latin typeface="Century" panose="02040604050505020304" pitchFamily="18" charset="0"/>
              </a:defRPr>
            </a:lvl1pPr>
          </a:lstStyle>
          <a:p>
            <a:pPr lvl="0"/>
            <a:r>
              <a:rPr lang="de-DE" dirty="0"/>
              <a:t>Mastertextformat bearbeiten</a:t>
            </a:r>
          </a:p>
        </p:txBody>
      </p:sp>
      <p:sp>
        <p:nvSpPr>
          <p:cNvPr id="7" name="Bildplatzhalter 6">
            <a:extLst>
              <a:ext uri="{FF2B5EF4-FFF2-40B4-BE49-F238E27FC236}">
                <a16:creationId xmlns:a16="http://schemas.microsoft.com/office/drawing/2014/main" id="{D9A7EC99-43D6-9840-AAF2-A98884A2B7F6}"/>
              </a:ext>
            </a:extLst>
          </p:cNvPr>
          <p:cNvSpPr>
            <a:spLocks noGrp="1"/>
          </p:cNvSpPr>
          <p:nvPr>
            <p:ph type="pic" sz="quarter" idx="11"/>
          </p:nvPr>
        </p:nvSpPr>
        <p:spPr>
          <a:xfrm>
            <a:off x="7037388" y="1346200"/>
            <a:ext cx="5154612" cy="4344988"/>
          </a:xfrm>
          <a:prstGeom prst="rect">
            <a:avLst/>
          </a:prstGeom>
        </p:spPr>
        <p:txBody>
          <a:bodyPr/>
          <a:lstStyle/>
          <a:p>
            <a:endParaRPr lang="de-DE"/>
          </a:p>
        </p:txBody>
      </p:sp>
      <p:sp>
        <p:nvSpPr>
          <p:cNvPr id="4" name="Fußzeilenplatzhalter 3">
            <a:extLst>
              <a:ext uri="{FF2B5EF4-FFF2-40B4-BE49-F238E27FC236}">
                <a16:creationId xmlns:a16="http://schemas.microsoft.com/office/drawing/2014/main" id="{242779D5-2EE0-422F-B621-A103ED6DDE77}"/>
              </a:ext>
            </a:extLst>
          </p:cNvPr>
          <p:cNvSpPr>
            <a:spLocks noGrp="1"/>
          </p:cNvSpPr>
          <p:nvPr>
            <p:ph type="ftr" sz="quarter" idx="13"/>
          </p:nvPr>
        </p:nvSpPr>
        <p:spPr/>
        <p:txBody>
          <a:bodyPr/>
          <a:lstStyle/>
          <a:p>
            <a:endParaRPr lang="de-AT"/>
          </a:p>
        </p:txBody>
      </p:sp>
      <p:sp>
        <p:nvSpPr>
          <p:cNvPr id="6" name="Foliennummernplatzhalter 5">
            <a:extLst>
              <a:ext uri="{FF2B5EF4-FFF2-40B4-BE49-F238E27FC236}">
                <a16:creationId xmlns:a16="http://schemas.microsoft.com/office/drawing/2014/main" id="{1B220BFE-51FF-4893-97A4-75D53BC4A8A4}"/>
              </a:ext>
            </a:extLst>
          </p:cNvPr>
          <p:cNvSpPr>
            <a:spLocks noGrp="1"/>
          </p:cNvSpPr>
          <p:nvPr>
            <p:ph type="sldNum" sz="quarter" idx="14"/>
          </p:nvPr>
        </p:nvSpPr>
        <p:spPr/>
        <p:txBody>
          <a:bodyPr/>
          <a:lstStyle/>
          <a:p>
            <a:fld id="{BA30C15F-51C3-47A6-B763-2B0929D5DF4D}" type="slidenum">
              <a:rPr lang="de-AT" smtClean="0"/>
              <a:t>‹Nr.›</a:t>
            </a:fld>
            <a:endParaRPr lang="de-AT"/>
          </a:p>
        </p:txBody>
      </p:sp>
    </p:spTree>
    <p:extLst>
      <p:ext uri="{BB962C8B-B14F-4D97-AF65-F5344CB8AC3E}">
        <p14:creationId xmlns:p14="http://schemas.microsoft.com/office/powerpoint/2010/main" val="33102602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8FFAA1"/>
        </a:solidFill>
        <a:effectLst/>
      </p:bgPr>
    </p:bg>
    <p:spTree>
      <p:nvGrpSpPr>
        <p:cNvPr id="1" name=""/>
        <p:cNvGrpSpPr/>
        <p:nvPr/>
      </p:nvGrpSpPr>
      <p:grpSpPr>
        <a:xfrm>
          <a:off x="0" y="0"/>
          <a:ext cx="0" cy="0"/>
          <a:chOff x="0" y="0"/>
          <a:chExt cx="0" cy="0"/>
        </a:xfrm>
      </p:grpSpPr>
      <p:sp>
        <p:nvSpPr>
          <p:cNvPr id="13" name="Titelplatzhalter 12">
            <a:extLst>
              <a:ext uri="{FF2B5EF4-FFF2-40B4-BE49-F238E27FC236}">
                <a16:creationId xmlns:a16="http://schemas.microsoft.com/office/drawing/2014/main" id="{945FBFC8-71DA-B64B-AF94-E5C038E62493}"/>
              </a:ext>
            </a:extLst>
          </p:cNvPr>
          <p:cNvSpPr>
            <a:spLocks noGrp="1"/>
          </p:cNvSpPr>
          <p:nvPr userDrawn="1">
            <p:ph type="title"/>
          </p:nvPr>
        </p:nvSpPr>
        <p:spPr>
          <a:xfrm>
            <a:off x="720000" y="1041400"/>
            <a:ext cx="9550400" cy="3111062"/>
          </a:xfrm>
          <a:prstGeom prst="rect">
            <a:avLst/>
          </a:prstGeom>
        </p:spPr>
        <p:txBody>
          <a:bodyPr vert="horz" lIns="0" tIns="0" rIns="0" bIns="0" rtlCol="0" anchor="ctr">
            <a:noAutofit/>
          </a:bodyPr>
          <a:lstStyle/>
          <a:p>
            <a:r>
              <a:rPr lang="de-DE" dirty="0"/>
              <a:t>Mastertitelformat bearbeiten</a:t>
            </a:r>
          </a:p>
        </p:txBody>
      </p:sp>
      <p:pic>
        <p:nvPicPr>
          <p:cNvPr id="5" name="Grafik 4" descr="Ein Bild, das Text enthält.&#10;&#10;Automatisch generierte Beschreibung">
            <a:extLst>
              <a:ext uri="{FF2B5EF4-FFF2-40B4-BE49-F238E27FC236}">
                <a16:creationId xmlns:a16="http://schemas.microsoft.com/office/drawing/2014/main" id="{220DDEC7-0DF3-4ED8-9BAD-163EAF480AB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98575" y="452383"/>
            <a:ext cx="1361125" cy="456915"/>
          </a:xfrm>
          <a:prstGeom prst="rect">
            <a:avLst/>
          </a:prstGeom>
        </p:spPr>
      </p:pic>
    </p:spTree>
    <p:extLst>
      <p:ext uri="{BB962C8B-B14F-4D97-AF65-F5344CB8AC3E}">
        <p14:creationId xmlns:p14="http://schemas.microsoft.com/office/powerpoint/2010/main" val="2197208563"/>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79" r:id="rId3"/>
    <p:sldLayoutId id="2147483680" r:id="rId4"/>
  </p:sldLayoutIdLst>
  <p:hf hdr="0" ftr="0" dt="0"/>
  <p:txStyles>
    <p:titleStyle>
      <a:lvl1pPr algn="l" defTabSz="914400" rtl="0" eaLnBrk="1" latinLnBrk="0" hangingPunct="1">
        <a:lnSpc>
          <a:spcPct val="90000"/>
        </a:lnSpc>
        <a:spcBef>
          <a:spcPct val="0"/>
        </a:spcBef>
        <a:buNone/>
        <a:defRPr sz="4800" kern="1200">
          <a:solidFill>
            <a:schemeClr val="tx1"/>
          </a:solidFill>
          <a:latin typeface="Century" panose="02040604050505020304"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Montserrat Ligh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Grafik 8" descr="Ein Bild, das Text enthält.&#10;&#10;Automatisch generierte Beschreibung">
            <a:extLst>
              <a:ext uri="{FF2B5EF4-FFF2-40B4-BE49-F238E27FC236}">
                <a16:creationId xmlns:a16="http://schemas.microsoft.com/office/drawing/2014/main" id="{F8DD7367-6487-D248-A66F-9CEA86E6D6EA}"/>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9998575" y="452383"/>
            <a:ext cx="1361125" cy="456915"/>
          </a:xfrm>
          <a:prstGeom prst="rect">
            <a:avLst/>
          </a:prstGeom>
        </p:spPr>
      </p:pic>
      <p:sp>
        <p:nvSpPr>
          <p:cNvPr id="13" name="Titelplatzhalter 12">
            <a:extLst>
              <a:ext uri="{FF2B5EF4-FFF2-40B4-BE49-F238E27FC236}">
                <a16:creationId xmlns:a16="http://schemas.microsoft.com/office/drawing/2014/main" id="{945FBFC8-71DA-B64B-AF94-E5C038E62493}"/>
              </a:ext>
            </a:extLst>
          </p:cNvPr>
          <p:cNvSpPr>
            <a:spLocks noGrp="1"/>
          </p:cNvSpPr>
          <p:nvPr userDrawn="1">
            <p:ph type="title"/>
          </p:nvPr>
        </p:nvSpPr>
        <p:spPr>
          <a:xfrm>
            <a:off x="838200" y="365126"/>
            <a:ext cx="8309022" cy="506248"/>
          </a:xfrm>
          <a:prstGeom prst="rect">
            <a:avLst/>
          </a:prstGeom>
        </p:spPr>
        <p:txBody>
          <a:bodyPr vert="horz" lIns="0" tIns="0" rIns="0" bIns="0" rtlCol="0" anchor="t">
            <a:normAutofit/>
          </a:bodyPr>
          <a:lstStyle/>
          <a:p>
            <a:r>
              <a:rPr lang="de-DE" dirty="0"/>
              <a:t>Mastertitelformat bearbeiten</a:t>
            </a:r>
          </a:p>
        </p:txBody>
      </p:sp>
      <p:sp>
        <p:nvSpPr>
          <p:cNvPr id="3" name="Fußzeilenplatzhalter 2">
            <a:extLst>
              <a:ext uri="{FF2B5EF4-FFF2-40B4-BE49-F238E27FC236}">
                <a16:creationId xmlns:a16="http://schemas.microsoft.com/office/drawing/2014/main" id="{3C7A1C6B-8F83-4F43-A1BF-E5100A43C0D9}"/>
              </a:ext>
            </a:extLst>
          </p:cNvPr>
          <p:cNvSpPr>
            <a:spLocks noGrp="1"/>
          </p:cNvSpPr>
          <p:nvPr>
            <p:ph type="ftr" sz="quarter" idx="3"/>
          </p:nvPr>
        </p:nvSpPr>
        <p:spPr>
          <a:xfrm>
            <a:off x="4038600" y="642035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4" name="Foliennummernplatzhalter 3">
            <a:extLst>
              <a:ext uri="{FF2B5EF4-FFF2-40B4-BE49-F238E27FC236}">
                <a16:creationId xmlns:a16="http://schemas.microsoft.com/office/drawing/2014/main" id="{A977B386-30CA-46F6-8EFB-F7E875C7F11A}"/>
              </a:ext>
            </a:extLst>
          </p:cNvPr>
          <p:cNvSpPr>
            <a:spLocks noGrp="1"/>
          </p:cNvSpPr>
          <p:nvPr>
            <p:ph type="sldNum" sz="quarter" idx="4"/>
          </p:nvPr>
        </p:nvSpPr>
        <p:spPr>
          <a:xfrm>
            <a:off x="8610600" y="6420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30C15F-51C3-47A6-B763-2B0929D5DF4D}" type="slidenum">
              <a:rPr lang="de-AT" smtClean="0"/>
              <a:t>‹Nr.›</a:t>
            </a:fld>
            <a:endParaRPr lang="de-AT" dirty="0"/>
          </a:p>
        </p:txBody>
      </p:sp>
    </p:spTree>
    <p:extLst>
      <p:ext uri="{BB962C8B-B14F-4D97-AF65-F5344CB8AC3E}">
        <p14:creationId xmlns:p14="http://schemas.microsoft.com/office/powerpoint/2010/main" val="73233017"/>
      </p:ext>
    </p:extLst>
  </p:cSld>
  <p:clrMap bg1="lt1" tx1="dk1" bg2="lt2" tx2="dk2" accent1="accent1" accent2="accent2" accent3="accent3" accent4="accent4" accent5="accent5" accent6="accent6" hlink="hlink" folHlink="folHlink"/>
  <p:sldLayoutIdLst>
    <p:sldLayoutId id="2147483668" r:id="rId1"/>
    <p:sldLayoutId id="2147483658" r:id="rId2"/>
    <p:sldLayoutId id="2147483684" r:id="rId3"/>
    <p:sldLayoutId id="2147483669" r:id="rId4"/>
    <p:sldLayoutId id="2147483671" r:id="rId5"/>
    <p:sldLayoutId id="2147483670" r:id="rId6"/>
    <p:sldLayoutId id="2147483672" r:id="rId7"/>
    <p:sldLayoutId id="2147483673" r:id="rId8"/>
    <p:sldLayoutId id="2147483677" r:id="rId9"/>
    <p:sldLayoutId id="2147483681" r:id="rId10"/>
    <p:sldLayoutId id="2147483682" r:id="rId11"/>
    <p:sldLayoutId id="2147483683" r:id="rId12"/>
  </p:sldLayoutIdLst>
  <p:hf hdr="0" ftr="0" dt="0"/>
  <p:txStyles>
    <p:titleStyle>
      <a:lvl1pPr algn="l" defTabSz="914400" rtl="0" eaLnBrk="1" latinLnBrk="0" hangingPunct="1">
        <a:lnSpc>
          <a:spcPct val="90000"/>
        </a:lnSpc>
        <a:spcBef>
          <a:spcPct val="0"/>
        </a:spcBef>
        <a:buNone/>
        <a:defRPr sz="3200" kern="1200">
          <a:solidFill>
            <a:schemeClr val="tx1"/>
          </a:solidFill>
          <a:latin typeface="Century" panose="02040604050505020304"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Montserrat Ligh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8FFAA1"/>
        </a:solidFill>
        <a:effectLst/>
      </p:bgPr>
    </p:bg>
    <p:spTree>
      <p:nvGrpSpPr>
        <p:cNvPr id="1" name=""/>
        <p:cNvGrpSpPr/>
        <p:nvPr/>
      </p:nvGrpSpPr>
      <p:grpSpPr>
        <a:xfrm>
          <a:off x="0" y="0"/>
          <a:ext cx="0" cy="0"/>
          <a:chOff x="0" y="0"/>
          <a:chExt cx="0" cy="0"/>
        </a:xfrm>
      </p:grpSpPr>
      <p:pic>
        <p:nvPicPr>
          <p:cNvPr id="9" name="Grafik 8" descr="Ein Bild, das Text enthält.&#10;&#10;Automatisch generierte Beschreibung">
            <a:extLst>
              <a:ext uri="{FF2B5EF4-FFF2-40B4-BE49-F238E27FC236}">
                <a16:creationId xmlns:a16="http://schemas.microsoft.com/office/drawing/2014/main" id="{F8DD7367-6487-D248-A66F-9CEA86E6D6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98575" y="452383"/>
            <a:ext cx="1361125" cy="456915"/>
          </a:xfrm>
          <a:prstGeom prst="rect">
            <a:avLst/>
          </a:prstGeom>
        </p:spPr>
      </p:pic>
      <p:sp>
        <p:nvSpPr>
          <p:cNvPr id="13" name="Titelplatzhalter 12">
            <a:extLst>
              <a:ext uri="{FF2B5EF4-FFF2-40B4-BE49-F238E27FC236}">
                <a16:creationId xmlns:a16="http://schemas.microsoft.com/office/drawing/2014/main" id="{945FBFC8-71DA-B64B-AF94-E5C038E62493}"/>
              </a:ext>
            </a:extLst>
          </p:cNvPr>
          <p:cNvSpPr>
            <a:spLocks noGrp="1"/>
          </p:cNvSpPr>
          <p:nvPr userDrawn="1">
            <p:ph type="title"/>
          </p:nvPr>
        </p:nvSpPr>
        <p:spPr>
          <a:xfrm>
            <a:off x="838200" y="365126"/>
            <a:ext cx="8309022" cy="506248"/>
          </a:xfrm>
          <a:prstGeom prst="rect">
            <a:avLst/>
          </a:prstGeom>
        </p:spPr>
        <p:txBody>
          <a:bodyPr vert="horz" lIns="0" tIns="0" rIns="0" bIns="0" rtlCol="0" anchor="t">
            <a:normAutofit/>
          </a:bodyPr>
          <a:lstStyle/>
          <a:p>
            <a:r>
              <a:rPr lang="de-DE" dirty="0"/>
              <a:t>Mastertitelformat bearbeiten</a:t>
            </a:r>
          </a:p>
        </p:txBody>
      </p:sp>
      <p:sp>
        <p:nvSpPr>
          <p:cNvPr id="3" name="Fußzeilenplatzhalter 2">
            <a:extLst>
              <a:ext uri="{FF2B5EF4-FFF2-40B4-BE49-F238E27FC236}">
                <a16:creationId xmlns:a16="http://schemas.microsoft.com/office/drawing/2014/main" id="{B011768E-F8E9-4489-A546-71F279EC0A60}"/>
              </a:ext>
            </a:extLst>
          </p:cNvPr>
          <p:cNvSpPr>
            <a:spLocks noGrp="1"/>
          </p:cNvSpPr>
          <p:nvPr>
            <p:ph type="ftr" sz="quarter" idx="3"/>
          </p:nvPr>
        </p:nvSpPr>
        <p:spPr>
          <a:xfrm>
            <a:off x="4038600" y="640910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4" name="Foliennummernplatzhalter 3">
            <a:extLst>
              <a:ext uri="{FF2B5EF4-FFF2-40B4-BE49-F238E27FC236}">
                <a16:creationId xmlns:a16="http://schemas.microsoft.com/office/drawing/2014/main" id="{767358D1-509D-4BD3-B969-1E3E8B3A58A5}"/>
              </a:ext>
            </a:extLst>
          </p:cNvPr>
          <p:cNvSpPr>
            <a:spLocks noGrp="1"/>
          </p:cNvSpPr>
          <p:nvPr>
            <p:ph type="sldNum" sz="quarter" idx="4"/>
          </p:nvPr>
        </p:nvSpPr>
        <p:spPr>
          <a:xfrm>
            <a:off x="8610600" y="640910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A8C71E-D222-49FC-9304-2DE29525E0AD}" type="slidenum">
              <a:rPr lang="de-AT" smtClean="0"/>
              <a:t>‹Nr.›</a:t>
            </a:fld>
            <a:endParaRPr lang="de-AT"/>
          </a:p>
        </p:txBody>
      </p:sp>
    </p:spTree>
    <p:extLst>
      <p:ext uri="{BB962C8B-B14F-4D97-AF65-F5344CB8AC3E}">
        <p14:creationId xmlns:p14="http://schemas.microsoft.com/office/powerpoint/2010/main" val="2137293678"/>
      </p:ext>
    </p:extLst>
  </p:cSld>
  <p:clrMap bg1="lt1" tx1="dk1" bg2="lt2" tx2="dk2" accent1="accent1" accent2="accent2" accent3="accent3" accent4="accent4" accent5="accent5" accent6="accent6" hlink="hlink" folHlink="folHlink"/>
  <p:sldLayoutIdLst>
    <p:sldLayoutId id="2147483660" r:id="rId1"/>
    <p:sldLayoutId id="2147483685" r:id="rId2"/>
    <p:sldLayoutId id="2147483676" r:id="rId3"/>
    <p:sldLayoutId id="2147483686" r:id="rId4"/>
  </p:sldLayoutIdLst>
  <p:hf hdr="0" ftr="0" dt="0"/>
  <p:txStyles>
    <p:titleStyle>
      <a:lvl1pPr algn="l" defTabSz="914400" rtl="0" eaLnBrk="1" latinLnBrk="0" hangingPunct="1">
        <a:lnSpc>
          <a:spcPct val="90000"/>
        </a:lnSpc>
        <a:spcBef>
          <a:spcPct val="0"/>
        </a:spcBef>
        <a:buNone/>
        <a:defRPr sz="3200" kern="1200">
          <a:solidFill>
            <a:schemeClr val="tx1"/>
          </a:solidFill>
          <a:latin typeface="Century" panose="02040604050505020304"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Montserrat Ligh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hyperlink" Target="https://www.klaiton.com/agb" TargetMode="Externa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xml"/><Relationship Id="rId7" Type="http://schemas.openxmlformats.org/officeDocument/2006/relationships/oleObject" Target="../embeddings/oleObject1.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12.xml"/></Relationships>
</file>

<file path=ppt/slides/_rels/slide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7.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 Type="http://schemas.openxmlformats.org/officeDocument/2006/relationships/tags" Target="../tags/tag34.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notesSlide" Target="../notesSlides/notesSlide10.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slideLayout" Target="../slideLayouts/slideLayout7.xml"/><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24.svg"/><Relationship Id="rId26" Type="http://schemas.openxmlformats.org/officeDocument/2006/relationships/image" Target="../media/image32.svg"/><Relationship Id="rId39" Type="http://schemas.openxmlformats.org/officeDocument/2006/relationships/image" Target="../media/image45.png"/><Relationship Id="rId21" Type="http://schemas.openxmlformats.org/officeDocument/2006/relationships/image" Target="../media/image27.png"/><Relationship Id="rId34" Type="http://schemas.openxmlformats.org/officeDocument/2006/relationships/image" Target="../media/image40.svg"/><Relationship Id="rId42" Type="http://schemas.openxmlformats.org/officeDocument/2006/relationships/image" Target="../media/image48.svg"/><Relationship Id="rId47" Type="http://schemas.openxmlformats.org/officeDocument/2006/relationships/image" Target="../media/image53.png"/><Relationship Id="rId50" Type="http://schemas.openxmlformats.org/officeDocument/2006/relationships/image" Target="../media/image56.svg"/><Relationship Id="rId7" Type="http://schemas.openxmlformats.org/officeDocument/2006/relationships/image" Target="../media/image13.png"/><Relationship Id="rId2" Type="http://schemas.openxmlformats.org/officeDocument/2006/relationships/image" Target="../media/image8.png"/><Relationship Id="rId16" Type="http://schemas.openxmlformats.org/officeDocument/2006/relationships/image" Target="../media/image22.svg"/><Relationship Id="rId29" Type="http://schemas.openxmlformats.org/officeDocument/2006/relationships/image" Target="../media/image35.png"/><Relationship Id="rId11" Type="http://schemas.openxmlformats.org/officeDocument/2006/relationships/image" Target="../media/image17.png"/><Relationship Id="rId24" Type="http://schemas.openxmlformats.org/officeDocument/2006/relationships/image" Target="../media/image30.svg"/><Relationship Id="rId32" Type="http://schemas.openxmlformats.org/officeDocument/2006/relationships/image" Target="../media/image38.svg"/><Relationship Id="rId37" Type="http://schemas.openxmlformats.org/officeDocument/2006/relationships/image" Target="../media/image43.png"/><Relationship Id="rId40" Type="http://schemas.openxmlformats.org/officeDocument/2006/relationships/image" Target="../media/image46.svg"/><Relationship Id="rId45" Type="http://schemas.openxmlformats.org/officeDocument/2006/relationships/image" Target="../media/image51.png"/><Relationship Id="rId53" Type="http://schemas.openxmlformats.org/officeDocument/2006/relationships/image" Target="../media/image59.png"/><Relationship Id="rId5" Type="http://schemas.openxmlformats.org/officeDocument/2006/relationships/image" Target="../media/image11.svg"/><Relationship Id="rId10" Type="http://schemas.openxmlformats.org/officeDocument/2006/relationships/image" Target="../media/image16.svg"/><Relationship Id="rId19" Type="http://schemas.openxmlformats.org/officeDocument/2006/relationships/image" Target="../media/image25.png"/><Relationship Id="rId31" Type="http://schemas.openxmlformats.org/officeDocument/2006/relationships/image" Target="../media/image37.png"/><Relationship Id="rId44" Type="http://schemas.openxmlformats.org/officeDocument/2006/relationships/image" Target="../media/image50.svg"/><Relationship Id="rId52" Type="http://schemas.openxmlformats.org/officeDocument/2006/relationships/image" Target="../media/image58.sv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 Id="rId27" Type="http://schemas.openxmlformats.org/officeDocument/2006/relationships/image" Target="../media/image33.png"/><Relationship Id="rId30" Type="http://schemas.openxmlformats.org/officeDocument/2006/relationships/image" Target="../media/image36.svg"/><Relationship Id="rId35" Type="http://schemas.openxmlformats.org/officeDocument/2006/relationships/image" Target="../media/image41.png"/><Relationship Id="rId43" Type="http://schemas.openxmlformats.org/officeDocument/2006/relationships/image" Target="../media/image49.png"/><Relationship Id="rId48" Type="http://schemas.openxmlformats.org/officeDocument/2006/relationships/image" Target="../media/image54.svg"/><Relationship Id="rId8" Type="http://schemas.openxmlformats.org/officeDocument/2006/relationships/image" Target="../media/image14.svg"/><Relationship Id="rId51" Type="http://schemas.openxmlformats.org/officeDocument/2006/relationships/image" Target="../media/image57.png"/><Relationship Id="rId3" Type="http://schemas.openxmlformats.org/officeDocument/2006/relationships/image" Target="../media/image9.svg"/><Relationship Id="rId12" Type="http://schemas.openxmlformats.org/officeDocument/2006/relationships/image" Target="../media/image18.svg"/><Relationship Id="rId17" Type="http://schemas.openxmlformats.org/officeDocument/2006/relationships/image" Target="../media/image23.png"/><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svg"/><Relationship Id="rId46" Type="http://schemas.openxmlformats.org/officeDocument/2006/relationships/image" Target="../media/image52.svg"/><Relationship Id="rId20" Type="http://schemas.openxmlformats.org/officeDocument/2006/relationships/image" Target="../media/image26.svg"/><Relationship Id="rId41" Type="http://schemas.openxmlformats.org/officeDocument/2006/relationships/image" Target="../media/image47.png"/><Relationship Id="rId54" Type="http://schemas.openxmlformats.org/officeDocument/2006/relationships/image" Target="../media/image60.svg"/><Relationship Id="rId1" Type="http://schemas.openxmlformats.org/officeDocument/2006/relationships/slideLayout" Target="../slideLayouts/slideLayout7.xml"/><Relationship Id="rId6" Type="http://schemas.openxmlformats.org/officeDocument/2006/relationships/image" Target="../media/image12.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svg"/><Relationship Id="rId36" Type="http://schemas.openxmlformats.org/officeDocument/2006/relationships/image" Target="../media/image42.svg"/><Relationship Id="rId49" Type="http://schemas.openxmlformats.org/officeDocument/2006/relationships/image" Target="../media/image55.png"/></Relationships>
</file>

<file path=ppt/slides/_rels/slide3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descr="Ein Bild, das Person, drinnen enthält.&#10;&#10;Automatisch generierte Beschreibung">
            <a:extLst>
              <a:ext uri="{FF2B5EF4-FFF2-40B4-BE49-F238E27FC236}">
                <a16:creationId xmlns:a16="http://schemas.microsoft.com/office/drawing/2014/main" id="{C87BB6B0-D0A3-4C82-86B3-410D2F3A5EA8}"/>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p:pic>
      <p:sp>
        <p:nvSpPr>
          <p:cNvPr id="3" name="Textplatzhalter 2">
            <a:extLst>
              <a:ext uri="{FF2B5EF4-FFF2-40B4-BE49-F238E27FC236}">
                <a16:creationId xmlns:a16="http://schemas.microsoft.com/office/drawing/2014/main" id="{11F82695-3D76-433F-A642-A00C153002DE}"/>
              </a:ext>
            </a:extLst>
          </p:cNvPr>
          <p:cNvSpPr>
            <a:spLocks noGrp="1"/>
          </p:cNvSpPr>
          <p:nvPr>
            <p:ph type="body" sz="quarter" idx="11"/>
          </p:nvPr>
        </p:nvSpPr>
        <p:spPr>
          <a:xfrm>
            <a:off x="720725" y="2363787"/>
            <a:ext cx="5133975" cy="1570903"/>
          </a:xfrm>
        </p:spPr>
        <p:txBody>
          <a:bodyPr/>
          <a:lstStyle/>
          <a:p>
            <a:r>
              <a:rPr lang="de-DE" sz="3600" dirty="0"/>
              <a:t>PROPOSAL</a:t>
            </a:r>
          </a:p>
          <a:p>
            <a:r>
              <a:rPr lang="de-DE" sz="3600" dirty="0"/>
              <a:t>„PROPOSAL NAME“</a:t>
            </a:r>
          </a:p>
        </p:txBody>
      </p:sp>
      <p:sp>
        <p:nvSpPr>
          <p:cNvPr id="6" name="Bildplatzhalter 4">
            <a:extLst>
              <a:ext uri="{FF2B5EF4-FFF2-40B4-BE49-F238E27FC236}">
                <a16:creationId xmlns:a16="http://schemas.microsoft.com/office/drawing/2014/main" id="{2BE68F3F-96BB-4662-BBA4-D48A6184A593}"/>
              </a:ext>
            </a:extLst>
          </p:cNvPr>
          <p:cNvSpPr>
            <a:spLocks noGrp="1"/>
          </p:cNvSpPr>
          <p:nvPr>
            <p:ph type="pic" sz="quarter" idx="12"/>
          </p:nvPr>
        </p:nvSpPr>
        <p:spPr>
          <a:xfrm>
            <a:off x="720725" y="378833"/>
            <a:ext cx="1384634" cy="652385"/>
          </a:xfrm>
        </p:spPr>
      </p:sp>
      <p:sp>
        <p:nvSpPr>
          <p:cNvPr id="7" name="Textfeld 6">
            <a:extLst>
              <a:ext uri="{FF2B5EF4-FFF2-40B4-BE49-F238E27FC236}">
                <a16:creationId xmlns:a16="http://schemas.microsoft.com/office/drawing/2014/main" id="{AF43AD9F-5A68-4513-B946-79EB4AAE600B}"/>
              </a:ext>
            </a:extLst>
          </p:cNvPr>
          <p:cNvSpPr txBox="1"/>
          <p:nvPr/>
        </p:nvSpPr>
        <p:spPr>
          <a:xfrm>
            <a:off x="720725" y="5270341"/>
            <a:ext cx="1337682" cy="307777"/>
          </a:xfrm>
          <a:prstGeom prst="rect">
            <a:avLst/>
          </a:prstGeom>
          <a:noFill/>
        </p:spPr>
        <p:txBody>
          <a:bodyPr wrap="square" rtlCol="0">
            <a:spAutoFit/>
          </a:bodyPr>
          <a:lstStyle/>
          <a:p>
            <a:r>
              <a:rPr lang="de-AT" sz="1400" dirty="0">
                <a:latin typeface="Microsoft Sans Serif" panose="020B0604020202020204" pitchFamily="34" charset="0"/>
                <a:ea typeface="Microsoft Sans Serif" panose="020B0604020202020204" pitchFamily="34" charset="0"/>
                <a:cs typeface="Microsoft Sans Serif" panose="020B0604020202020204" pitchFamily="34" charset="0"/>
              </a:rPr>
              <a:t>DD.MM.YYYY</a:t>
            </a:r>
          </a:p>
        </p:txBody>
      </p:sp>
    </p:spTree>
    <p:extLst>
      <p:ext uri="{BB962C8B-B14F-4D97-AF65-F5344CB8AC3E}">
        <p14:creationId xmlns:p14="http://schemas.microsoft.com/office/powerpoint/2010/main" val="3891381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99A158D2-ACE0-4239-9731-66352C7CAE6C}"/>
              </a:ext>
            </a:extLst>
          </p:cNvPr>
          <p:cNvSpPr/>
          <p:nvPr/>
        </p:nvSpPr>
        <p:spPr>
          <a:xfrm>
            <a:off x="871978" y="1316250"/>
            <a:ext cx="10275277" cy="5719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 name="Titel 1">
            <a:extLst>
              <a:ext uri="{FF2B5EF4-FFF2-40B4-BE49-F238E27FC236}">
                <a16:creationId xmlns:a16="http://schemas.microsoft.com/office/drawing/2014/main" id="{23B9C830-95D2-49BD-9520-D5230D5AB4B1}"/>
              </a:ext>
            </a:extLst>
          </p:cNvPr>
          <p:cNvSpPr>
            <a:spLocks noGrp="1"/>
          </p:cNvSpPr>
          <p:nvPr>
            <p:ph type="title"/>
          </p:nvPr>
        </p:nvSpPr>
        <p:spPr/>
        <p:txBody>
          <a:bodyPr/>
          <a:lstStyle/>
          <a:p>
            <a:r>
              <a:rPr lang="de-DE" dirty="0"/>
              <a:t>Order </a:t>
            </a:r>
            <a:r>
              <a:rPr lang="de-DE" dirty="0" err="1"/>
              <a:t>confirmation</a:t>
            </a:r>
            <a:endParaRPr lang="de-AT" dirty="0"/>
          </a:p>
        </p:txBody>
      </p:sp>
      <p:sp>
        <p:nvSpPr>
          <p:cNvPr id="3" name="Textplatzhalter 2">
            <a:extLst>
              <a:ext uri="{FF2B5EF4-FFF2-40B4-BE49-F238E27FC236}">
                <a16:creationId xmlns:a16="http://schemas.microsoft.com/office/drawing/2014/main" id="{7317DE2E-0235-4EEA-8969-6BD79A00A0E7}"/>
              </a:ext>
            </a:extLst>
          </p:cNvPr>
          <p:cNvSpPr>
            <a:spLocks noGrp="1"/>
          </p:cNvSpPr>
          <p:nvPr>
            <p:ph type="body" sz="quarter" idx="10"/>
          </p:nvPr>
        </p:nvSpPr>
        <p:spPr>
          <a:xfrm>
            <a:off x="838200" y="1325190"/>
            <a:ext cx="10461625" cy="721458"/>
          </a:xfrm>
        </p:spPr>
        <p:txBody>
          <a:bodyPr/>
          <a:lstStyle/>
          <a:p>
            <a:pPr algn="ctr"/>
            <a:r>
              <a:rPr lang="de-DE" sz="3200" dirty="0"/>
              <a:t>[</a:t>
            </a:r>
            <a:r>
              <a:rPr lang="de-DE" sz="3200" dirty="0" err="1"/>
              <a:t>project</a:t>
            </a:r>
            <a:r>
              <a:rPr lang="de-DE" sz="3200" dirty="0"/>
              <a:t> </a:t>
            </a:r>
            <a:r>
              <a:rPr lang="de-DE" sz="3200" dirty="0" err="1"/>
              <a:t>name</a:t>
            </a:r>
            <a:r>
              <a:rPr lang="de-DE" sz="3200" dirty="0"/>
              <a:t>]</a:t>
            </a:r>
            <a:endParaRPr lang="de-AT" sz="3200" dirty="0"/>
          </a:p>
        </p:txBody>
      </p:sp>
      <p:sp>
        <p:nvSpPr>
          <p:cNvPr id="4" name="Textplatzhalter 3">
            <a:extLst>
              <a:ext uri="{FF2B5EF4-FFF2-40B4-BE49-F238E27FC236}">
                <a16:creationId xmlns:a16="http://schemas.microsoft.com/office/drawing/2014/main" id="{424EC6FE-8553-43F5-BD27-460252EADDD1}"/>
              </a:ext>
            </a:extLst>
          </p:cNvPr>
          <p:cNvSpPr>
            <a:spLocks noGrp="1"/>
          </p:cNvSpPr>
          <p:nvPr>
            <p:ph type="body" sz="quarter" idx="11"/>
          </p:nvPr>
        </p:nvSpPr>
        <p:spPr>
          <a:xfrm>
            <a:off x="838200" y="2063435"/>
            <a:ext cx="10461625" cy="2301733"/>
          </a:xfrm>
        </p:spPr>
        <p:txBody>
          <a:bodyPr/>
          <a:lstStyle/>
          <a:p>
            <a:pPr marL="285750" indent="-285750">
              <a:lnSpc>
                <a:spcPct val="150000"/>
              </a:lnSpc>
              <a:buFont typeface="Wingdings" panose="05000000000000000000" pitchFamily="2" charset="2"/>
              <a:buChar char="§"/>
            </a:pPr>
            <a:r>
              <a:rPr lang="en-GB" dirty="0"/>
              <a:t>__________ EUR investment</a:t>
            </a:r>
          </a:p>
          <a:p>
            <a:pPr marL="285750" indent="-285750">
              <a:lnSpc>
                <a:spcPct val="150000"/>
              </a:lnSpc>
              <a:buFont typeface="Wingdings" panose="05000000000000000000" pitchFamily="2" charset="2"/>
              <a:buChar char="§"/>
            </a:pPr>
            <a:r>
              <a:rPr lang="en-GB" dirty="0"/>
              <a:t>Plus travel expenses (based on bills and receipts; kilometre allowance)</a:t>
            </a:r>
          </a:p>
          <a:p>
            <a:pPr marL="285750" indent="-285750">
              <a:lnSpc>
                <a:spcPct val="150000"/>
              </a:lnSpc>
              <a:buFont typeface="Wingdings" panose="05000000000000000000" pitchFamily="2" charset="2"/>
              <a:buChar char="§"/>
            </a:pPr>
            <a:r>
              <a:rPr lang="en-GB" dirty="0"/>
              <a:t>Plus VAT</a:t>
            </a:r>
          </a:p>
          <a:p>
            <a:pPr marL="285750" indent="-285750">
              <a:lnSpc>
                <a:spcPct val="150000"/>
              </a:lnSpc>
              <a:buFont typeface="Wingdings" panose="05000000000000000000" pitchFamily="2" charset="2"/>
              <a:buChar char="§"/>
            </a:pPr>
            <a:r>
              <a:rPr lang="en-GB" dirty="0"/>
              <a:t>Invoice as discussed (per milestone / monthly)</a:t>
            </a:r>
          </a:p>
          <a:p>
            <a:pPr marL="285750" indent="-285750">
              <a:lnSpc>
                <a:spcPct val="150000"/>
              </a:lnSpc>
              <a:buFont typeface="Wingdings" panose="05000000000000000000" pitchFamily="2" charset="2"/>
              <a:buChar char="§"/>
            </a:pPr>
            <a:r>
              <a:rPr lang="en-GB" dirty="0"/>
              <a:t>Payment is due upon receipt of the invoice according to our </a:t>
            </a:r>
            <a:r>
              <a:rPr lang="en-GB" dirty="0">
                <a:hlinkClick r:id="rId2"/>
              </a:rPr>
              <a:t>terms and conditions</a:t>
            </a:r>
            <a:endParaRPr lang="en-GB" dirty="0"/>
          </a:p>
        </p:txBody>
      </p:sp>
      <p:sp>
        <p:nvSpPr>
          <p:cNvPr id="5" name="Text Box 3">
            <a:extLst>
              <a:ext uri="{FF2B5EF4-FFF2-40B4-BE49-F238E27FC236}">
                <a16:creationId xmlns:a16="http://schemas.microsoft.com/office/drawing/2014/main" id="{88B16150-4AA0-4D52-8D9D-057086779F14}"/>
              </a:ext>
            </a:extLst>
          </p:cNvPr>
          <p:cNvSpPr txBox="1">
            <a:spLocks noChangeArrowheads="1"/>
          </p:cNvSpPr>
          <p:nvPr/>
        </p:nvSpPr>
        <p:spPr bwMode="auto">
          <a:xfrm>
            <a:off x="925955" y="5847335"/>
            <a:ext cx="2022475" cy="307777"/>
          </a:xfrm>
          <a:prstGeom prst="rect">
            <a:avLst/>
          </a:prstGeom>
          <a:noFill/>
          <a:ln w="9525">
            <a:noFill/>
            <a:miter lim="800000"/>
            <a:headEnd/>
            <a:tailEnd/>
          </a:ln>
          <a:effectLst/>
        </p:spPr>
        <p:txBody>
          <a:bodyPr>
            <a:spAutoFit/>
          </a:bodyPr>
          <a:lstStyle/>
          <a:p>
            <a:pPr defTabSz="914446">
              <a:spcBef>
                <a:spcPct val="50000"/>
              </a:spcBef>
              <a:spcAft>
                <a:spcPct val="0"/>
              </a:spcAft>
            </a:pPr>
            <a:r>
              <a:rPr lang="de-DE" sz="1400" dirty="0">
                <a:latin typeface="Microsoft Sans Serif" panose="020B0604020202020204" pitchFamily="34" charset="0"/>
                <a:cs typeface="Microsoft Sans Serif" panose="020B0604020202020204" pitchFamily="34" charset="0"/>
              </a:rPr>
              <a:t>[</a:t>
            </a:r>
            <a:r>
              <a:rPr lang="de-DE" sz="1400" dirty="0" err="1">
                <a:latin typeface="Microsoft Sans Serif" panose="020B0604020202020204" pitchFamily="34" charset="0"/>
                <a:cs typeface="Microsoft Sans Serif" panose="020B0604020202020204" pitchFamily="34" charset="0"/>
              </a:rPr>
              <a:t>customer</a:t>
            </a:r>
            <a:r>
              <a:rPr lang="de-DE" sz="1400" dirty="0">
                <a:latin typeface="Microsoft Sans Serif" panose="020B0604020202020204" pitchFamily="34" charset="0"/>
                <a:cs typeface="Microsoft Sans Serif" panose="020B0604020202020204" pitchFamily="34" charset="0"/>
              </a:rPr>
              <a:t> </a:t>
            </a:r>
            <a:r>
              <a:rPr lang="de-DE" sz="1400" dirty="0" err="1">
                <a:latin typeface="Microsoft Sans Serif" panose="020B0604020202020204" pitchFamily="34" charset="0"/>
                <a:cs typeface="Microsoft Sans Serif" panose="020B0604020202020204" pitchFamily="34" charset="0"/>
              </a:rPr>
              <a:t>site</a:t>
            </a:r>
            <a:r>
              <a:rPr lang="de-DE" sz="1400" dirty="0">
                <a:latin typeface="Microsoft Sans Serif" panose="020B0604020202020204" pitchFamily="34" charset="0"/>
                <a:cs typeface="Microsoft Sans Serif" panose="020B0604020202020204" pitchFamily="34" charset="0"/>
              </a:rPr>
              <a:t>]</a:t>
            </a:r>
          </a:p>
        </p:txBody>
      </p:sp>
      <p:sp>
        <p:nvSpPr>
          <p:cNvPr id="6" name="Text Box 3">
            <a:extLst>
              <a:ext uri="{FF2B5EF4-FFF2-40B4-BE49-F238E27FC236}">
                <a16:creationId xmlns:a16="http://schemas.microsoft.com/office/drawing/2014/main" id="{A34EA173-FE31-4242-809F-4EB2A134CDAD}"/>
              </a:ext>
            </a:extLst>
          </p:cNvPr>
          <p:cNvSpPr txBox="1">
            <a:spLocks noChangeArrowheads="1"/>
          </p:cNvSpPr>
          <p:nvPr/>
        </p:nvSpPr>
        <p:spPr bwMode="auto">
          <a:xfrm>
            <a:off x="3096820" y="5850589"/>
            <a:ext cx="2022475" cy="307777"/>
          </a:xfrm>
          <a:prstGeom prst="rect">
            <a:avLst/>
          </a:prstGeom>
          <a:noFill/>
          <a:ln w="9525">
            <a:noFill/>
            <a:miter lim="800000"/>
            <a:headEnd/>
            <a:tailEnd/>
          </a:ln>
          <a:effectLst/>
        </p:spPr>
        <p:txBody>
          <a:bodyPr>
            <a:spAutoFit/>
          </a:bodyPr>
          <a:lstStyle/>
          <a:p>
            <a:pPr defTabSz="914446">
              <a:spcBef>
                <a:spcPct val="50000"/>
              </a:spcBef>
              <a:spcAft>
                <a:spcPct val="0"/>
              </a:spcAft>
            </a:pPr>
            <a:r>
              <a:rPr lang="de-DE" sz="1400" dirty="0">
                <a:latin typeface="Microsoft Sans Serif" panose="020B0604020202020204" pitchFamily="34" charset="0"/>
                <a:cs typeface="Microsoft Sans Serif" panose="020B0604020202020204" pitchFamily="34" charset="0"/>
              </a:rPr>
              <a:t>date</a:t>
            </a:r>
          </a:p>
        </p:txBody>
      </p:sp>
      <p:sp>
        <p:nvSpPr>
          <p:cNvPr id="7" name="Text Box 3">
            <a:extLst>
              <a:ext uri="{FF2B5EF4-FFF2-40B4-BE49-F238E27FC236}">
                <a16:creationId xmlns:a16="http://schemas.microsoft.com/office/drawing/2014/main" id="{B300511F-B017-4D65-A56B-FD25649689A4}"/>
              </a:ext>
            </a:extLst>
          </p:cNvPr>
          <p:cNvSpPr txBox="1">
            <a:spLocks noChangeArrowheads="1"/>
          </p:cNvSpPr>
          <p:nvPr/>
        </p:nvSpPr>
        <p:spPr bwMode="auto">
          <a:xfrm>
            <a:off x="5236488" y="5847335"/>
            <a:ext cx="3068459" cy="307777"/>
          </a:xfrm>
          <a:prstGeom prst="rect">
            <a:avLst/>
          </a:prstGeom>
          <a:noFill/>
          <a:ln w="9525">
            <a:noFill/>
            <a:miter lim="800000"/>
            <a:headEnd/>
            <a:tailEnd/>
          </a:ln>
          <a:effectLst/>
        </p:spPr>
        <p:txBody>
          <a:bodyPr wrap="square">
            <a:spAutoFit/>
          </a:bodyPr>
          <a:lstStyle/>
          <a:p>
            <a:pPr defTabSz="914446">
              <a:spcBef>
                <a:spcPct val="50000"/>
              </a:spcBef>
              <a:spcAft>
                <a:spcPct val="0"/>
              </a:spcAft>
            </a:pPr>
            <a:r>
              <a:rPr lang="de-DE" sz="1400" dirty="0">
                <a:latin typeface="Microsoft Sans Serif" panose="020B0604020202020204" pitchFamily="34" charset="0"/>
                <a:cs typeface="Microsoft Sans Serif" panose="020B0604020202020204" pitchFamily="34" charset="0"/>
              </a:rPr>
              <a:t>[</a:t>
            </a:r>
            <a:r>
              <a:rPr lang="de-DE" sz="1400" dirty="0" err="1">
                <a:latin typeface="Microsoft Sans Serif" panose="020B0604020202020204" pitchFamily="34" charset="0"/>
                <a:cs typeface="Microsoft Sans Serif" panose="020B0604020202020204" pitchFamily="34" charset="0"/>
              </a:rPr>
              <a:t>customer</a:t>
            </a:r>
            <a:r>
              <a:rPr lang="de-DE" sz="1400" dirty="0">
                <a:latin typeface="Microsoft Sans Serif" panose="020B0604020202020204" pitchFamily="34" charset="0"/>
                <a:cs typeface="Microsoft Sans Serif" panose="020B0604020202020204" pitchFamily="34" charset="0"/>
              </a:rPr>
              <a:t>]</a:t>
            </a:r>
          </a:p>
        </p:txBody>
      </p:sp>
      <p:cxnSp>
        <p:nvCxnSpPr>
          <p:cNvPr id="8" name="Gerade Verbindung 9">
            <a:extLst>
              <a:ext uri="{FF2B5EF4-FFF2-40B4-BE49-F238E27FC236}">
                <a16:creationId xmlns:a16="http://schemas.microsoft.com/office/drawing/2014/main" id="{DC7A163A-8602-44FF-9513-E401030C7D35}"/>
              </a:ext>
            </a:extLst>
          </p:cNvPr>
          <p:cNvCxnSpPr/>
          <p:nvPr/>
        </p:nvCxnSpPr>
        <p:spPr>
          <a:xfrm>
            <a:off x="925955" y="5847335"/>
            <a:ext cx="1800000" cy="0"/>
          </a:xfrm>
          <a:prstGeom prst="line">
            <a:avLst/>
          </a:prstGeom>
          <a:noFill/>
          <a:ln w="6350" cap="flat" cmpd="sng" algn="ctr">
            <a:solidFill>
              <a:srgbClr val="000000"/>
            </a:solidFill>
            <a:prstDash val="solid"/>
            <a:miter lim="800000"/>
          </a:ln>
          <a:effectLst/>
        </p:spPr>
      </p:cxnSp>
      <p:cxnSp>
        <p:nvCxnSpPr>
          <p:cNvPr id="9" name="Gerade Verbindung 9">
            <a:extLst>
              <a:ext uri="{FF2B5EF4-FFF2-40B4-BE49-F238E27FC236}">
                <a16:creationId xmlns:a16="http://schemas.microsoft.com/office/drawing/2014/main" id="{3A60AA26-5543-4142-9B1E-A1D7FE1AF030}"/>
              </a:ext>
            </a:extLst>
          </p:cNvPr>
          <p:cNvCxnSpPr/>
          <p:nvPr/>
        </p:nvCxnSpPr>
        <p:spPr>
          <a:xfrm>
            <a:off x="3208057" y="5841648"/>
            <a:ext cx="1800000" cy="0"/>
          </a:xfrm>
          <a:prstGeom prst="line">
            <a:avLst/>
          </a:prstGeom>
          <a:noFill/>
          <a:ln w="6350" cap="flat" cmpd="sng" algn="ctr">
            <a:solidFill>
              <a:srgbClr val="000000"/>
            </a:solidFill>
            <a:prstDash val="solid"/>
            <a:miter lim="800000"/>
          </a:ln>
          <a:effectLst/>
        </p:spPr>
      </p:cxnSp>
      <p:cxnSp>
        <p:nvCxnSpPr>
          <p:cNvPr id="10" name="Gerade Verbindung 9">
            <a:extLst>
              <a:ext uri="{FF2B5EF4-FFF2-40B4-BE49-F238E27FC236}">
                <a16:creationId xmlns:a16="http://schemas.microsoft.com/office/drawing/2014/main" id="{1DEC6B6D-6720-4F05-86C2-06BF9F2F9CBD}"/>
              </a:ext>
            </a:extLst>
          </p:cNvPr>
          <p:cNvCxnSpPr>
            <a:cxnSpLocks/>
          </p:cNvCxnSpPr>
          <p:nvPr/>
        </p:nvCxnSpPr>
        <p:spPr>
          <a:xfrm>
            <a:off x="5382688" y="5830547"/>
            <a:ext cx="2451258" cy="0"/>
          </a:xfrm>
          <a:prstGeom prst="line">
            <a:avLst/>
          </a:prstGeom>
          <a:noFill/>
          <a:ln w="6350" cap="flat" cmpd="sng" algn="ctr">
            <a:solidFill>
              <a:srgbClr val="000000"/>
            </a:solidFill>
            <a:prstDash val="solid"/>
            <a:miter lim="800000"/>
          </a:ln>
          <a:effectLst/>
        </p:spPr>
      </p:cxnSp>
      <p:sp>
        <p:nvSpPr>
          <p:cNvPr id="11" name="Foliennummernplatzhalter 10">
            <a:extLst>
              <a:ext uri="{FF2B5EF4-FFF2-40B4-BE49-F238E27FC236}">
                <a16:creationId xmlns:a16="http://schemas.microsoft.com/office/drawing/2014/main" id="{EC2E0EF2-AA8F-4140-8E9A-4737DEA34599}"/>
              </a:ext>
            </a:extLst>
          </p:cNvPr>
          <p:cNvSpPr>
            <a:spLocks noGrp="1"/>
          </p:cNvSpPr>
          <p:nvPr>
            <p:ph type="sldNum" sz="quarter" idx="14"/>
          </p:nvPr>
        </p:nvSpPr>
        <p:spPr/>
        <p:txBody>
          <a:bodyPr/>
          <a:lstStyle/>
          <a:p>
            <a:fld id="{BA30C15F-51C3-47A6-B763-2B0929D5DF4D}" type="slidenum">
              <a:rPr lang="de-AT" smtClean="0"/>
              <a:t>10</a:t>
            </a:fld>
            <a:endParaRPr lang="de-AT"/>
          </a:p>
        </p:txBody>
      </p:sp>
      <p:sp>
        <p:nvSpPr>
          <p:cNvPr id="14" name="Textfeld 13">
            <a:extLst>
              <a:ext uri="{FF2B5EF4-FFF2-40B4-BE49-F238E27FC236}">
                <a16:creationId xmlns:a16="http://schemas.microsoft.com/office/drawing/2014/main" id="{60C13061-B507-4B6A-8D6C-BAFA26C35278}"/>
              </a:ext>
            </a:extLst>
          </p:cNvPr>
          <p:cNvSpPr txBox="1"/>
          <p:nvPr/>
        </p:nvSpPr>
        <p:spPr>
          <a:xfrm>
            <a:off x="925955" y="4550627"/>
            <a:ext cx="10221300" cy="369332"/>
          </a:xfrm>
          <a:prstGeom prst="rect">
            <a:avLst/>
          </a:prstGeom>
          <a:solidFill>
            <a:srgbClr val="EBECED"/>
          </a:solidFill>
        </p:spPr>
        <p:txBody>
          <a:bodyPr wrap="square">
            <a:spAutoFit/>
          </a:bodyPr>
          <a:lstStyle/>
          <a:p>
            <a:r>
              <a:rPr lang="de-AT" b="0" i="0" dirty="0">
                <a:solidFill>
                  <a:srgbClr val="000000"/>
                </a:solidFill>
                <a:effectLst/>
                <a:latin typeface="Times New Roman" panose="02020603050405020304" pitchFamily="18" charset="0"/>
              </a:rPr>
              <a:t> </a:t>
            </a:r>
            <a:r>
              <a:rPr lang="en-GB" b="0" i="0" dirty="0">
                <a:solidFill>
                  <a:srgbClr val="000000"/>
                </a:solidFill>
                <a:effectLst/>
                <a:latin typeface="Times New Roman" panose="02020603050405020304" pitchFamily="18" charset="0"/>
              </a:rPr>
              <a:t>We hereby confirm the order</a:t>
            </a:r>
            <a:endParaRPr lang="en-GB" dirty="0"/>
          </a:p>
        </p:txBody>
      </p:sp>
    </p:spTree>
    <p:extLst>
      <p:ext uri="{BB962C8B-B14F-4D97-AF65-F5344CB8AC3E}">
        <p14:creationId xmlns:p14="http://schemas.microsoft.com/office/powerpoint/2010/main" val="1038874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1827410-CE94-4B5E-A9A8-B9BB2AE7D317}"/>
              </a:ext>
            </a:extLst>
          </p:cNvPr>
          <p:cNvSpPr>
            <a:spLocks noGrp="1"/>
          </p:cNvSpPr>
          <p:nvPr>
            <p:ph type="title"/>
          </p:nvPr>
        </p:nvSpPr>
        <p:spPr/>
        <p:txBody>
          <a:bodyPr/>
          <a:lstStyle/>
          <a:p>
            <a:r>
              <a:rPr lang="de-DE" dirty="0"/>
              <a:t>About Klaiton</a:t>
            </a:r>
            <a:endParaRPr lang="de-AT" dirty="0"/>
          </a:p>
        </p:txBody>
      </p:sp>
      <p:sp>
        <p:nvSpPr>
          <p:cNvPr id="6" name="Textplatzhalter 5">
            <a:extLst>
              <a:ext uri="{FF2B5EF4-FFF2-40B4-BE49-F238E27FC236}">
                <a16:creationId xmlns:a16="http://schemas.microsoft.com/office/drawing/2014/main" id="{AF2CC3D8-67CC-408D-BCC5-DA090545ACA6}"/>
              </a:ext>
            </a:extLst>
          </p:cNvPr>
          <p:cNvSpPr>
            <a:spLocks noGrp="1"/>
          </p:cNvSpPr>
          <p:nvPr>
            <p:ph type="body" sz="quarter" idx="10"/>
          </p:nvPr>
        </p:nvSpPr>
        <p:spPr>
          <a:xfrm>
            <a:off x="804421" y="1196484"/>
            <a:ext cx="5750491" cy="5223874"/>
          </a:xfrm>
        </p:spPr>
        <p:txBody>
          <a:bodyPr/>
          <a:lstStyle/>
          <a:p>
            <a:pPr algn="l" rtl="0" fontAlgn="base">
              <a:lnSpc>
                <a:spcPct val="100000"/>
              </a:lnSpc>
              <a:spcAft>
                <a:spcPts val="600"/>
              </a:spcAft>
            </a:pPr>
            <a:r>
              <a:rPr lang="de-DE" sz="1800" b="1" i="0" u="none" strike="noStrike" dirty="0">
                <a:solidFill>
                  <a:srgbClr val="101920"/>
                </a:solidFill>
                <a:effectLst/>
                <a:latin typeface="Century" panose="02040604050505020304" pitchFamily="18" charset="0"/>
              </a:rPr>
              <a:t>BEYOND CONSULTING</a:t>
            </a:r>
            <a:r>
              <a:rPr lang="de-DE" sz="1800" b="0" i="0" dirty="0">
                <a:solidFill>
                  <a:srgbClr val="101920"/>
                </a:solidFill>
                <a:effectLst/>
                <a:latin typeface="Century" panose="02040604050505020304" pitchFamily="18" charset="0"/>
              </a:rPr>
              <a:t>​</a:t>
            </a:r>
            <a:br>
              <a:rPr lang="de-DE" sz="800" b="0" i="0" dirty="0">
                <a:solidFill>
                  <a:srgbClr val="101920"/>
                </a:solidFill>
                <a:effectLst/>
                <a:latin typeface="Century" panose="02040604050505020304" pitchFamily="18" charset="0"/>
              </a:rPr>
            </a:br>
            <a:r>
              <a:rPr lang="en-US" sz="1400" b="0" i="0" u="none" strike="noStrike" dirty="0">
                <a:solidFill>
                  <a:srgbClr val="10192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Our community counts more than </a:t>
            </a:r>
            <a:r>
              <a:rPr lang="en-US" sz="1400" dirty="0">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1.050</a:t>
            </a:r>
            <a:r>
              <a:rPr lang="en-US" sz="1400" b="0" i="0" u="none" strike="noStrike" dirty="0">
                <a:solidFill>
                  <a:srgbClr val="10192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 senior management consultants and project managers and constitutes the highest quality consulting network in the German speaking region. We provide suggestions, you decide who you want to work with. Because we believe in matching like-minded people in order to bring </a:t>
            </a:r>
            <a:r>
              <a:rPr lang="en-US" sz="1400" b="0" i="0" u="none" strike="noStrike" dirty="0" err="1">
                <a:solidFill>
                  <a:srgbClr val="10192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organisations</a:t>
            </a:r>
            <a:r>
              <a:rPr lang="en-US" sz="1400" b="0" i="0" u="none" strike="noStrike" dirty="0">
                <a:solidFill>
                  <a:srgbClr val="10192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 to the next level.</a:t>
            </a:r>
            <a:endParaRPr lang="de-DE" sz="1400" b="0" i="0" dirty="0">
              <a:solidFill>
                <a:srgbClr val="101920"/>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p>
            <a:pPr algn="l" rtl="0" fontAlgn="base">
              <a:lnSpc>
                <a:spcPct val="100000"/>
              </a:lnSpc>
              <a:spcAft>
                <a:spcPts val="600"/>
              </a:spcAft>
            </a:pPr>
            <a:r>
              <a:rPr lang="de-DE" sz="1800" b="1" dirty="0">
                <a:solidFill>
                  <a:srgbClr val="101920"/>
                </a:solidFill>
              </a:rPr>
              <a:t>QUICK AND DIGITAL</a:t>
            </a:r>
            <a:r>
              <a:rPr lang="en-US" sz="1800" b="1" dirty="0">
                <a:solidFill>
                  <a:srgbClr val="101920"/>
                </a:solidFill>
              </a:rPr>
              <a:t>​</a:t>
            </a:r>
            <a:br>
              <a:rPr lang="en-US" sz="800" b="0" i="0" dirty="0">
                <a:solidFill>
                  <a:srgbClr val="101920"/>
                </a:solidFill>
                <a:effectLst/>
                <a:latin typeface="Century" panose="02040604050505020304" pitchFamily="18" charset="0"/>
              </a:rPr>
            </a:br>
            <a:r>
              <a:rPr lang="en-US" sz="1400" dirty="0">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A platform-based approach assures that we provide senior consultant profiles that are excellent in their respective fields, know your business, confidently manage projects and suit your corporate culture. ​</a:t>
            </a:r>
          </a:p>
          <a:p>
            <a:pPr algn="l" rtl="0" fontAlgn="base">
              <a:lnSpc>
                <a:spcPct val="100000"/>
              </a:lnSpc>
              <a:spcAft>
                <a:spcPts val="600"/>
              </a:spcAft>
            </a:pPr>
            <a:r>
              <a:rPr lang="en-US" sz="1800" b="1" dirty="0">
                <a:solidFill>
                  <a:srgbClr val="101920"/>
                </a:solidFill>
              </a:rPr>
              <a:t>MORE THAN JUST A PLATFORM​</a:t>
            </a:r>
            <a:br>
              <a:rPr lang="en-US" sz="800" b="0" i="0" dirty="0">
                <a:solidFill>
                  <a:srgbClr val="101920"/>
                </a:solidFill>
                <a:effectLst/>
                <a:latin typeface="Century" panose="02040604050505020304" pitchFamily="18" charset="0"/>
              </a:rPr>
            </a:br>
            <a:r>
              <a:rPr lang="en-US" sz="1400" dirty="0">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As your neutral sparring partner, we support our consultants‘ deliverables with continuous quality assurance measures that aim at ensuring an even better mutual understanding and trust.​</a:t>
            </a:r>
          </a:p>
          <a:p>
            <a:pPr algn="l" rtl="0" fontAlgn="base">
              <a:lnSpc>
                <a:spcPct val="100000"/>
              </a:lnSpc>
              <a:spcAft>
                <a:spcPts val="600"/>
              </a:spcAft>
            </a:pPr>
            <a:r>
              <a:rPr lang="en-US" sz="1400" dirty="0">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We strongly believe in enabling </a:t>
            </a:r>
            <a:r>
              <a:rPr lang="en-US" sz="1400" dirty="0" err="1">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organisations</a:t>
            </a:r>
            <a:r>
              <a:rPr lang="en-US" sz="1400" dirty="0">
                <a:solidFill>
                  <a:srgbClr val="101920"/>
                </a:solidFill>
                <a:latin typeface="Microsoft Sans Serif" panose="020B0604020202020204" pitchFamily="34" charset="0"/>
                <a:ea typeface="Microsoft Sans Serif" panose="020B0604020202020204" pitchFamily="34" charset="0"/>
                <a:cs typeface="Microsoft Sans Serif" panose="020B0604020202020204" pitchFamily="34" charset="0"/>
              </a:rPr>
              <a:t> and people. That is why our projects come in demand-oriented shapes and sizes, create sustainable know-how and ensure both change and growth for your company. </a:t>
            </a:r>
          </a:p>
          <a:p>
            <a:pPr>
              <a:lnSpc>
                <a:spcPct val="100000"/>
              </a:lnSpc>
              <a:spcAft>
                <a:spcPts val="1200"/>
              </a:spcAft>
            </a:pPr>
            <a:endParaRPr lang="de-AT" sz="1800" dirty="0"/>
          </a:p>
        </p:txBody>
      </p:sp>
      <p:sp>
        <p:nvSpPr>
          <p:cNvPr id="2" name="Foliennummernplatzhalter 1">
            <a:extLst>
              <a:ext uri="{FF2B5EF4-FFF2-40B4-BE49-F238E27FC236}">
                <a16:creationId xmlns:a16="http://schemas.microsoft.com/office/drawing/2014/main" id="{921DA7E6-1B93-43E6-8D51-EB4FE150FD8D}"/>
              </a:ext>
            </a:extLst>
          </p:cNvPr>
          <p:cNvSpPr>
            <a:spLocks noGrp="1"/>
          </p:cNvSpPr>
          <p:nvPr>
            <p:ph type="sldNum" sz="quarter" idx="14"/>
          </p:nvPr>
        </p:nvSpPr>
        <p:spPr/>
        <p:txBody>
          <a:bodyPr/>
          <a:lstStyle/>
          <a:p>
            <a:fld id="{BA30C15F-51C3-47A6-B763-2B0929D5DF4D}" type="slidenum">
              <a:rPr lang="de-AT" smtClean="0"/>
              <a:t>11</a:t>
            </a:fld>
            <a:endParaRPr lang="de-AT"/>
          </a:p>
        </p:txBody>
      </p:sp>
      <p:pic>
        <p:nvPicPr>
          <p:cNvPr id="7" name="Grafik 6" descr="Ein Bild, das Text, Schrift, Grafiken, Kreis enthält.&#10;&#10;Automatisch generierte Beschreibung">
            <a:extLst>
              <a:ext uri="{FF2B5EF4-FFF2-40B4-BE49-F238E27FC236}">
                <a16:creationId xmlns:a16="http://schemas.microsoft.com/office/drawing/2014/main" id="{00F72F25-EF3F-B1A5-3AE0-30FDC6F432AD}"/>
              </a:ext>
            </a:extLst>
          </p:cNvPr>
          <p:cNvPicPr>
            <a:picLocks noChangeAspect="1"/>
          </p:cNvPicPr>
          <p:nvPr/>
        </p:nvPicPr>
        <p:blipFill>
          <a:blip r:embed="rId2"/>
          <a:stretch>
            <a:fillRect/>
          </a:stretch>
        </p:blipFill>
        <p:spPr>
          <a:xfrm>
            <a:off x="7824063" y="1388049"/>
            <a:ext cx="2646317" cy="4081901"/>
          </a:xfrm>
          <a:prstGeom prst="rect">
            <a:avLst/>
          </a:prstGeom>
        </p:spPr>
      </p:pic>
    </p:spTree>
    <p:extLst>
      <p:ext uri="{BB962C8B-B14F-4D97-AF65-F5344CB8AC3E}">
        <p14:creationId xmlns:p14="http://schemas.microsoft.com/office/powerpoint/2010/main" val="400408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6CFF38E-BA7E-4204-987D-F1407CCC8C12}"/>
              </a:ext>
            </a:extLst>
          </p:cNvPr>
          <p:cNvSpPr>
            <a:spLocks noGrp="1"/>
          </p:cNvSpPr>
          <p:nvPr>
            <p:ph type="title"/>
          </p:nvPr>
        </p:nvSpPr>
        <p:spPr/>
        <p:txBody>
          <a:bodyPr/>
          <a:lstStyle/>
          <a:p>
            <a:r>
              <a:rPr lang="de-DE" dirty="0"/>
              <a:t>Consultant XY / Project </a:t>
            </a:r>
            <a:r>
              <a:rPr lang="de-DE" dirty="0" err="1"/>
              <a:t>team</a:t>
            </a:r>
            <a:endParaRPr lang="de-AT" dirty="0"/>
          </a:p>
        </p:txBody>
      </p:sp>
      <p:sp>
        <p:nvSpPr>
          <p:cNvPr id="6" name="Inhaltsplatzhalter 5">
            <a:extLst>
              <a:ext uri="{FF2B5EF4-FFF2-40B4-BE49-F238E27FC236}">
                <a16:creationId xmlns:a16="http://schemas.microsoft.com/office/drawing/2014/main" id="{D7AFD24B-61C5-41D6-B4EC-D7893A8DB564}"/>
              </a:ext>
            </a:extLst>
          </p:cNvPr>
          <p:cNvSpPr>
            <a:spLocks noGrp="1"/>
          </p:cNvSpPr>
          <p:nvPr>
            <p:ph idx="1"/>
          </p:nvPr>
        </p:nvSpPr>
        <p:spPr/>
        <p:txBody>
          <a:bodyPr/>
          <a:lstStyle/>
          <a:p>
            <a:pPr algn="l" rtl="0" fontAlgn="base"/>
            <a:r>
              <a:rPr lang="en-US" b="0" i="0" u="none" strike="noStrike" dirty="0">
                <a:solidFill>
                  <a:srgbClr val="101920"/>
                </a:solidFill>
                <a:effectLst/>
                <a:latin typeface="Microsoft Sans Serif" panose="020B0604020202020204" pitchFamily="34" charset="0"/>
              </a:rPr>
              <a:t>Insert short consultant CVs – 1 per page with:</a:t>
            </a:r>
            <a:r>
              <a:rPr lang="en-US" b="0" i="0" dirty="0">
                <a:solidFill>
                  <a:srgbClr val="101920"/>
                </a:solidFill>
                <a:effectLst/>
                <a:latin typeface="Microsoft Sans Serif" panose="020B0604020202020204" pitchFamily="34" charset="0"/>
              </a:rPr>
              <a:t>​</a:t>
            </a:r>
            <a:endParaRPr lang="en-US" b="0" i="0" dirty="0">
              <a:solidFill>
                <a:srgbClr val="101920"/>
              </a:solidFill>
              <a:effectLst/>
              <a:latin typeface="Segoe UI" panose="020B0502040204020203" pitchFamily="34" charset="0"/>
            </a:endParaRPr>
          </a:p>
          <a:p>
            <a:pPr algn="l" rtl="0" fontAlgn="base">
              <a:buFont typeface="Arial" panose="020B0604020202020204" pitchFamily="34" charset="0"/>
              <a:buChar char="•"/>
            </a:pPr>
            <a:r>
              <a:rPr lang="en-US" b="0" i="0" u="none" strike="noStrike" dirty="0">
                <a:solidFill>
                  <a:srgbClr val="101920"/>
                </a:solidFill>
                <a:effectLst/>
                <a:latin typeface="Microsoft Sans Serif" panose="020B0604020202020204" pitchFamily="34" charset="0"/>
              </a:rPr>
              <a:t>photo</a:t>
            </a:r>
            <a:r>
              <a:rPr lang="en-US" b="0" i="0" dirty="0">
                <a:solidFill>
                  <a:srgbClr val="101920"/>
                </a:solidFill>
                <a:effectLst/>
                <a:latin typeface="Microsoft Sans Serif" panose="020B0604020202020204" pitchFamily="34" charset="0"/>
              </a:rPr>
              <a:t>​</a:t>
            </a:r>
            <a:endParaRPr lang="en-US" b="0" i="0" dirty="0">
              <a:solidFill>
                <a:srgbClr val="101920"/>
              </a:solidFill>
              <a:effectLst/>
              <a:latin typeface="Arial" panose="020B0604020202020204" pitchFamily="34" charset="0"/>
            </a:endParaRPr>
          </a:p>
          <a:p>
            <a:pPr algn="l" rtl="0" fontAlgn="base">
              <a:buFont typeface="Arial" panose="020B0604020202020204" pitchFamily="34" charset="0"/>
              <a:buChar char="•"/>
            </a:pPr>
            <a:r>
              <a:rPr lang="en-US" b="0" i="0" u="none" strike="noStrike" dirty="0">
                <a:solidFill>
                  <a:srgbClr val="101920"/>
                </a:solidFill>
                <a:effectLst/>
                <a:latin typeface="Microsoft Sans Serif" panose="020B0604020202020204" pitchFamily="34" charset="0"/>
              </a:rPr>
              <a:t>career track &amp; steps that are relevant to the project</a:t>
            </a:r>
            <a:r>
              <a:rPr lang="en-US" b="0" i="0" dirty="0">
                <a:solidFill>
                  <a:srgbClr val="101920"/>
                </a:solidFill>
                <a:effectLst/>
                <a:latin typeface="Microsoft Sans Serif" panose="020B0604020202020204" pitchFamily="34" charset="0"/>
              </a:rPr>
              <a:t>​</a:t>
            </a:r>
            <a:endParaRPr lang="en-US" b="0" i="0" dirty="0">
              <a:solidFill>
                <a:srgbClr val="101920"/>
              </a:solidFill>
              <a:effectLst/>
              <a:latin typeface="Arial" panose="020B0604020202020204" pitchFamily="34" charset="0"/>
            </a:endParaRPr>
          </a:p>
          <a:p>
            <a:pPr algn="l" rtl="0" fontAlgn="base">
              <a:buFont typeface="Arial" panose="020B0604020202020204" pitchFamily="34" charset="0"/>
              <a:buChar char="•"/>
            </a:pPr>
            <a:r>
              <a:rPr lang="en-US" b="0" i="0" u="none" strike="noStrike" dirty="0">
                <a:solidFill>
                  <a:srgbClr val="101920"/>
                </a:solidFill>
                <a:effectLst/>
                <a:latin typeface="Microsoft Sans Serif" panose="020B0604020202020204" pitchFamily="34" charset="0"/>
              </a:rPr>
              <a:t>references that are relevant for the project</a:t>
            </a:r>
            <a:endParaRPr lang="en-US" b="0" i="0" dirty="0">
              <a:solidFill>
                <a:srgbClr val="101920"/>
              </a:solidFill>
              <a:effectLst/>
              <a:latin typeface="Arial" panose="020B0604020202020204" pitchFamily="34" charset="0"/>
            </a:endParaRPr>
          </a:p>
          <a:p>
            <a:endParaRPr lang="de-AT" dirty="0"/>
          </a:p>
        </p:txBody>
      </p:sp>
      <p:sp>
        <p:nvSpPr>
          <p:cNvPr id="7" name="Legende mit Linie 1 4">
            <a:extLst>
              <a:ext uri="{FF2B5EF4-FFF2-40B4-BE49-F238E27FC236}">
                <a16:creationId xmlns:a16="http://schemas.microsoft.com/office/drawing/2014/main" id="{FB9B15BC-7D5A-423F-B024-EBFE5F52CCA4}"/>
              </a:ext>
            </a:extLst>
          </p:cNvPr>
          <p:cNvSpPr/>
          <p:nvPr/>
        </p:nvSpPr>
        <p:spPr>
          <a:xfrm>
            <a:off x="7345654" y="3671126"/>
            <a:ext cx="4008146" cy="792018"/>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000000"/>
                </a:solidFill>
                <a:effectLst/>
                <a:latin typeface="Microsoft Sans Serif" panose="020B0604020202020204" pitchFamily="34" charset="0"/>
              </a:rPr>
              <a:t>font not smaller than 16 / otherwise pls open 2nd page</a:t>
            </a:r>
            <a:endParaRPr kumimoji="0" lang="de-AT"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 name="Foliennummernplatzhalter 1">
            <a:extLst>
              <a:ext uri="{FF2B5EF4-FFF2-40B4-BE49-F238E27FC236}">
                <a16:creationId xmlns:a16="http://schemas.microsoft.com/office/drawing/2014/main" id="{8B879E2B-99F8-4A8B-B785-E0D3788C5B2B}"/>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12</a:t>
            </a:fld>
            <a:endParaRPr lang="de-DE" dirty="0"/>
          </a:p>
        </p:txBody>
      </p:sp>
    </p:spTree>
    <p:extLst>
      <p:ext uri="{BB962C8B-B14F-4D97-AF65-F5344CB8AC3E}">
        <p14:creationId xmlns:p14="http://schemas.microsoft.com/office/powerpoint/2010/main" val="1638809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ildplatzhalter 1">
            <a:extLst>
              <a:ext uri="{FF2B5EF4-FFF2-40B4-BE49-F238E27FC236}">
                <a16:creationId xmlns:a16="http://schemas.microsoft.com/office/drawing/2014/main" id="{7E0E79AC-911D-45A1-990A-8FBC4506FD4C}"/>
              </a:ext>
            </a:extLst>
          </p:cNvPr>
          <p:cNvSpPr>
            <a:spLocks noGrp="1"/>
          </p:cNvSpPr>
          <p:nvPr>
            <p:ph type="pic" sz="quarter" idx="10"/>
          </p:nvPr>
        </p:nvSpPr>
        <p:spPr/>
      </p:sp>
      <p:pic>
        <p:nvPicPr>
          <p:cNvPr id="10" name="Bildplatzhalter 9" descr="Ein Bild, das Person, Mann, Anzug, tragen enthält.&#10;&#10;Automatisch generierte Beschreibung">
            <a:extLst>
              <a:ext uri="{FF2B5EF4-FFF2-40B4-BE49-F238E27FC236}">
                <a16:creationId xmlns:a16="http://schemas.microsoft.com/office/drawing/2014/main" id="{FCE8FBE7-FE0B-4175-B913-DB1EDFD34781}"/>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sp>
        <p:nvSpPr>
          <p:cNvPr id="4" name="Titel 3">
            <a:extLst>
              <a:ext uri="{FF2B5EF4-FFF2-40B4-BE49-F238E27FC236}">
                <a16:creationId xmlns:a16="http://schemas.microsoft.com/office/drawing/2014/main" id="{D4B8DA0D-FA89-4FD7-8519-91804B02151E}"/>
              </a:ext>
            </a:extLst>
          </p:cNvPr>
          <p:cNvSpPr>
            <a:spLocks noGrp="1"/>
          </p:cNvSpPr>
          <p:nvPr>
            <p:ph type="title"/>
          </p:nvPr>
        </p:nvSpPr>
        <p:spPr/>
        <p:txBody>
          <a:bodyPr/>
          <a:lstStyle/>
          <a:p>
            <a:r>
              <a:rPr lang="de-AT" dirty="0" err="1"/>
              <a:t>Contacts</a:t>
            </a:r>
            <a:endParaRPr lang="de-AT" dirty="0"/>
          </a:p>
        </p:txBody>
      </p:sp>
      <p:sp>
        <p:nvSpPr>
          <p:cNvPr id="5" name="Textplatzhalter 4">
            <a:extLst>
              <a:ext uri="{FF2B5EF4-FFF2-40B4-BE49-F238E27FC236}">
                <a16:creationId xmlns:a16="http://schemas.microsoft.com/office/drawing/2014/main" id="{A779C825-465B-4613-9F1C-775DC4B7074F}"/>
              </a:ext>
            </a:extLst>
          </p:cNvPr>
          <p:cNvSpPr>
            <a:spLocks noGrp="1"/>
          </p:cNvSpPr>
          <p:nvPr>
            <p:ph type="body" sz="quarter" idx="14"/>
          </p:nvPr>
        </p:nvSpPr>
        <p:spPr/>
        <p:txBody>
          <a:bodyPr/>
          <a:lstStyle/>
          <a:p>
            <a:endParaRPr lang="de-AT" dirty="0"/>
          </a:p>
        </p:txBody>
      </p:sp>
      <p:sp>
        <p:nvSpPr>
          <p:cNvPr id="6" name="Textplatzhalter 5">
            <a:extLst>
              <a:ext uri="{FF2B5EF4-FFF2-40B4-BE49-F238E27FC236}">
                <a16:creationId xmlns:a16="http://schemas.microsoft.com/office/drawing/2014/main" id="{0BBF3675-C531-48FE-84F8-277A19E0AB20}"/>
              </a:ext>
            </a:extLst>
          </p:cNvPr>
          <p:cNvSpPr>
            <a:spLocks noGrp="1"/>
          </p:cNvSpPr>
          <p:nvPr>
            <p:ph type="body" sz="quarter" idx="15"/>
          </p:nvPr>
        </p:nvSpPr>
        <p:spPr/>
        <p:txBody>
          <a:bodyPr/>
          <a:lstStyle/>
          <a:p>
            <a:r>
              <a:rPr lang="de-AT" dirty="0"/>
              <a:t>Nikolaus Schmidt</a:t>
            </a:r>
          </a:p>
          <a:p>
            <a:r>
              <a:rPr lang="de-DE" sz="1200" dirty="0"/>
              <a:t>Commercial Partner &amp; Co-Founder</a:t>
            </a:r>
          </a:p>
          <a:p>
            <a:r>
              <a:rPr lang="de-DE" sz="1200" dirty="0"/>
              <a:t>nikolaus.schmidt@klaiton.com</a:t>
            </a:r>
          </a:p>
          <a:p>
            <a:r>
              <a:rPr lang="de-DE" sz="1200" dirty="0"/>
              <a:t>+43 676 847 833 200 (AT)</a:t>
            </a:r>
          </a:p>
          <a:p>
            <a:r>
              <a:rPr lang="de-DE" sz="1200" dirty="0"/>
              <a:t>+49 211 40 833 200 (DE)</a:t>
            </a:r>
          </a:p>
          <a:p>
            <a:endParaRPr lang="de-AT" dirty="0"/>
          </a:p>
          <a:p>
            <a:endParaRPr lang="de-AT" dirty="0"/>
          </a:p>
        </p:txBody>
      </p:sp>
      <p:sp>
        <p:nvSpPr>
          <p:cNvPr id="7" name="Foliennummernplatzhalter 6">
            <a:extLst>
              <a:ext uri="{FF2B5EF4-FFF2-40B4-BE49-F238E27FC236}">
                <a16:creationId xmlns:a16="http://schemas.microsoft.com/office/drawing/2014/main" id="{4914A572-35FC-4B77-B504-D5DEA6D86B92}"/>
              </a:ext>
            </a:extLst>
          </p:cNvPr>
          <p:cNvSpPr>
            <a:spLocks noGrp="1"/>
          </p:cNvSpPr>
          <p:nvPr>
            <p:ph type="sldNum" sz="quarter" idx="18"/>
          </p:nvPr>
        </p:nvSpPr>
        <p:spPr/>
        <p:txBody>
          <a:bodyPr/>
          <a:lstStyle/>
          <a:p>
            <a:fld id="{A6E611E7-8F6D-48FF-A375-CD1E8B06DE97}" type="slidenum">
              <a:rPr lang="de-AT" smtClean="0"/>
              <a:t>13</a:t>
            </a:fld>
            <a:endParaRPr lang="de-AT"/>
          </a:p>
        </p:txBody>
      </p:sp>
      <p:sp>
        <p:nvSpPr>
          <p:cNvPr id="8" name="Textfeld 7">
            <a:extLst>
              <a:ext uri="{FF2B5EF4-FFF2-40B4-BE49-F238E27FC236}">
                <a16:creationId xmlns:a16="http://schemas.microsoft.com/office/drawing/2014/main" id="{1E3AF374-6DFC-4C3C-A7FB-D9EEC954FA76}"/>
              </a:ext>
            </a:extLst>
          </p:cNvPr>
          <p:cNvSpPr txBox="1"/>
          <p:nvPr/>
        </p:nvSpPr>
        <p:spPr>
          <a:xfrm>
            <a:off x="473458" y="6083936"/>
            <a:ext cx="11245083" cy="622991"/>
          </a:xfrm>
          <a:prstGeom prst="rect">
            <a:avLst/>
          </a:prstGeom>
          <a:noFill/>
        </p:spPr>
        <p:txBody>
          <a:bodyPr wrap="square" rtlCol="0">
            <a:spAutoFit/>
          </a:bodyPr>
          <a:lstStyle/>
          <a:p>
            <a:pPr algn="ctr">
              <a:lnSpc>
                <a:spcPct val="150000"/>
              </a:lnSpc>
            </a:pPr>
            <a:r>
              <a:rPr lang="de-DE" sz="800" b="1" dirty="0">
                <a:latin typeface="Microsoft Sans Serif" panose="020B0604020202020204" pitchFamily="34" charset="0"/>
                <a:ea typeface="Microsoft Sans Serif" panose="020B0604020202020204" pitchFamily="34" charset="0"/>
                <a:cs typeface="Microsoft Sans Serif" panose="020B0604020202020204" pitchFamily="34" charset="0"/>
              </a:rPr>
              <a:t>Klaiton</a:t>
            </a:r>
            <a:r>
              <a:rPr lang="de-DE" sz="800" b="1"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Advisory GmbH </a:t>
            </a:r>
          </a:p>
          <a:p>
            <a:pPr algn="ctr">
              <a:lnSpc>
                <a:spcPct val="150000"/>
              </a:lnSpc>
            </a:pPr>
            <a:r>
              <a:rPr lang="de-DE" sz="800" b="0" i="0" u="none" strike="noStrike" baseline="0" dirty="0" err="1">
                <a:latin typeface="Microsoft Sans Serif" panose="020B0604020202020204" pitchFamily="34" charset="0"/>
                <a:ea typeface="Microsoft Sans Serif" panose="020B0604020202020204" pitchFamily="34" charset="0"/>
                <a:cs typeface="Microsoft Sans Serif" panose="020B0604020202020204" pitchFamily="34" charset="0"/>
              </a:rPr>
              <a:t>Gonzagagasse</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15/3c, 1010 </a:t>
            </a:r>
            <a:r>
              <a:rPr lang="de-DE" sz="800" dirty="0">
                <a:latin typeface="Microsoft Sans Serif" panose="020B0604020202020204" pitchFamily="34" charset="0"/>
                <a:ea typeface="Microsoft Sans Serif" panose="020B0604020202020204" pitchFamily="34" charset="0"/>
                <a:cs typeface="Microsoft Sans Serif" panose="020B0604020202020204" pitchFamily="34" charset="0"/>
              </a:rPr>
              <a:t>Vienna</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Austria </a:t>
            </a:r>
            <a:r>
              <a:rPr lang="de-DE" sz="800" dirty="0">
                <a:latin typeface="Microsoft Sans Serif" panose="020B0604020202020204" pitchFamily="34" charset="0"/>
                <a:ea typeface="Microsoft Sans Serif" panose="020B0604020202020204" pitchFamily="34" charset="0"/>
                <a:cs typeface="Microsoft Sans Serif" panose="020B0604020202020204" pitchFamily="34" charset="0"/>
              </a:rPr>
              <a:t>|</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FN 427479x, HG </a:t>
            </a:r>
            <a:r>
              <a:rPr lang="de-DE" sz="800" dirty="0">
                <a:latin typeface="Microsoft Sans Serif" panose="020B0604020202020204" pitchFamily="34" charset="0"/>
                <a:ea typeface="Microsoft Sans Serif" panose="020B0604020202020204" pitchFamily="34" charset="0"/>
                <a:cs typeface="Microsoft Sans Serif" panose="020B0604020202020204" pitchFamily="34" charset="0"/>
              </a:rPr>
              <a:t>Vienna</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a:t>
            </a:r>
            <a:r>
              <a:rPr lang="de-DE" sz="800" dirty="0">
                <a:latin typeface="Microsoft Sans Serif" panose="020B0604020202020204" pitchFamily="34" charset="0"/>
                <a:ea typeface="Microsoft Sans Serif" panose="020B0604020202020204" pitchFamily="34" charset="0"/>
                <a:cs typeface="Microsoft Sans Serif" panose="020B0604020202020204" pitchFamily="34" charset="0"/>
              </a:rPr>
              <a:t>|</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UID </a:t>
            </a:r>
            <a:r>
              <a:rPr lang="de-DE" sz="800" dirty="0" err="1">
                <a:latin typeface="Microsoft Sans Serif" panose="020B0604020202020204" pitchFamily="34" charset="0"/>
                <a:ea typeface="Microsoft Sans Serif" panose="020B0604020202020204" pitchFamily="34" charset="0"/>
                <a:cs typeface="Microsoft Sans Serif" panose="020B0604020202020204" pitchFamily="34" charset="0"/>
              </a:rPr>
              <a:t>n</a:t>
            </a:r>
            <a:r>
              <a:rPr lang="de-DE" sz="800" b="0" i="0" u="none" strike="noStrike" baseline="0" dirty="0" err="1">
                <a:latin typeface="Microsoft Sans Serif" panose="020B0604020202020204" pitchFamily="34" charset="0"/>
                <a:ea typeface="Microsoft Sans Serif" panose="020B0604020202020204" pitchFamily="34" charset="0"/>
                <a:cs typeface="Microsoft Sans Serif" panose="020B0604020202020204" pitchFamily="34" charset="0"/>
              </a:rPr>
              <a:t>umber</a:t>
            </a:r>
            <a:r>
              <a:rPr lang="de-DE" sz="800" b="0" i="0" u="none" strike="noStrike" baseline="0" dirty="0">
                <a:latin typeface="Microsoft Sans Serif" panose="020B0604020202020204" pitchFamily="34" charset="0"/>
                <a:ea typeface="Microsoft Sans Serif" panose="020B0604020202020204" pitchFamily="34" charset="0"/>
                <a:cs typeface="Microsoft Sans Serif" panose="020B0604020202020204" pitchFamily="34" charset="0"/>
              </a:rPr>
              <a:t>: ATU69321049</a:t>
            </a:r>
          </a:p>
          <a:p>
            <a:pPr algn="ctr">
              <a:lnSpc>
                <a:spcPct val="150000"/>
              </a:lnSpc>
            </a:pPr>
            <a:r>
              <a:rPr lang="de-DE" sz="800">
                <a:latin typeface="Microsoft Sans Serif" panose="020B0604020202020204" pitchFamily="34" charset="0"/>
                <a:ea typeface="Microsoft Sans Serif" panose="020B0604020202020204" pitchFamily="34" charset="0"/>
                <a:cs typeface="Microsoft Sans Serif" panose="020B0604020202020204" pitchFamily="34" charset="0"/>
              </a:rPr>
              <a:t>Managing Board</a:t>
            </a:r>
            <a:r>
              <a:rPr lang="de-DE" sz="800" i="0" u="none" strike="noStrike" baseline="0">
                <a:latin typeface="Microsoft Sans Serif" panose="020B0604020202020204" pitchFamily="34" charset="0"/>
                <a:ea typeface="Microsoft Sans Serif" panose="020B0604020202020204" pitchFamily="34" charset="0"/>
                <a:cs typeface="Microsoft Sans Serif" panose="020B0604020202020204" pitchFamily="34" charset="0"/>
              </a:rPr>
              <a:t>:</a:t>
            </a:r>
            <a:r>
              <a:rPr lang="de-DE" sz="800" b="0" i="0" u="none" strike="noStrike" baseline="0">
                <a:latin typeface="Microsoft Sans Serif" panose="020B0604020202020204" pitchFamily="34" charset="0"/>
                <a:ea typeface="Microsoft Sans Serif" panose="020B0604020202020204" pitchFamily="34" charset="0"/>
                <a:cs typeface="Microsoft Sans Serif" panose="020B0604020202020204" pitchFamily="34" charset="0"/>
              </a:rPr>
              <a:t> </a:t>
            </a:r>
            <a:r>
              <a:rPr lang="de-DE" sz="800" dirty="0">
                <a:latin typeface="Microsoft Sans Serif" panose="020B0604020202020204" pitchFamily="34" charset="0"/>
                <a:ea typeface="Microsoft Sans Serif" panose="020B0604020202020204" pitchFamily="34" charset="0"/>
                <a:cs typeface="Microsoft Sans Serif" panose="020B0604020202020204" pitchFamily="34" charset="0"/>
              </a:rPr>
              <a:t>Tina Deutsch &amp; Nikolaus Schmidt</a:t>
            </a:r>
          </a:p>
        </p:txBody>
      </p:sp>
    </p:spTree>
    <p:extLst>
      <p:ext uri="{BB962C8B-B14F-4D97-AF65-F5344CB8AC3E}">
        <p14:creationId xmlns:p14="http://schemas.microsoft.com/office/powerpoint/2010/main" val="2376145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C0C61608-D074-475F-89C5-C38F68886311}"/>
              </a:ext>
            </a:extLst>
          </p:cNvPr>
          <p:cNvSpPr>
            <a:spLocks noGrp="1"/>
          </p:cNvSpPr>
          <p:nvPr>
            <p:ph type="body" sz="quarter" idx="11"/>
          </p:nvPr>
        </p:nvSpPr>
        <p:spPr>
          <a:xfrm>
            <a:off x="3321844" y="3519244"/>
            <a:ext cx="5548312" cy="893067"/>
          </a:xfrm>
        </p:spPr>
        <p:txBody>
          <a:bodyPr/>
          <a:lstStyle/>
          <a:p>
            <a:pPr algn="ctr"/>
            <a:endParaRPr lang="de-DE" dirty="0"/>
          </a:p>
          <a:p>
            <a:pPr algn="ctr"/>
            <a:r>
              <a:rPr lang="de-DE" dirty="0"/>
              <a:t>www.klaiton.com</a:t>
            </a:r>
          </a:p>
        </p:txBody>
      </p:sp>
      <p:pic>
        <p:nvPicPr>
          <p:cNvPr id="6" name="Grafik 5">
            <a:extLst>
              <a:ext uri="{FF2B5EF4-FFF2-40B4-BE49-F238E27FC236}">
                <a16:creationId xmlns:a16="http://schemas.microsoft.com/office/drawing/2014/main" id="{EB84B8CD-8756-48F7-A64F-3FD9616C55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96152" y="2506281"/>
            <a:ext cx="3599695" cy="893066"/>
          </a:xfrm>
          <a:prstGeom prst="rect">
            <a:avLst/>
          </a:prstGeom>
        </p:spPr>
      </p:pic>
    </p:spTree>
    <p:extLst>
      <p:ext uri="{BB962C8B-B14F-4D97-AF65-F5344CB8AC3E}">
        <p14:creationId xmlns:p14="http://schemas.microsoft.com/office/powerpoint/2010/main" val="3350240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CA750E-72BB-44A7-8D15-987DF3DCA5DB}"/>
              </a:ext>
            </a:extLst>
          </p:cNvPr>
          <p:cNvSpPr>
            <a:spLocks noGrp="1"/>
          </p:cNvSpPr>
          <p:nvPr>
            <p:ph type="title"/>
          </p:nvPr>
        </p:nvSpPr>
        <p:spPr/>
        <p:txBody>
          <a:bodyPr/>
          <a:lstStyle/>
          <a:p>
            <a:r>
              <a:rPr lang="de-AT" dirty="0"/>
              <a:t>Alternate </a:t>
            </a:r>
            <a:r>
              <a:rPr lang="de-AT" dirty="0" err="1"/>
              <a:t>layouts</a:t>
            </a:r>
            <a:endParaRPr lang="de-AT" dirty="0"/>
          </a:p>
        </p:txBody>
      </p:sp>
    </p:spTree>
    <p:extLst>
      <p:ext uri="{BB962C8B-B14F-4D97-AF65-F5344CB8AC3E}">
        <p14:creationId xmlns:p14="http://schemas.microsoft.com/office/powerpoint/2010/main" val="2683667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95808C-019A-40CA-85DE-57148AE51748}"/>
              </a:ext>
            </a:extLst>
          </p:cNvPr>
          <p:cNvSpPr>
            <a:spLocks noGrp="1"/>
          </p:cNvSpPr>
          <p:nvPr>
            <p:ph type="title"/>
          </p:nvPr>
        </p:nvSpPr>
        <p:spPr>
          <a:xfrm>
            <a:off x="838200" y="408877"/>
            <a:ext cx="8309022" cy="506248"/>
          </a:xfrm>
        </p:spPr>
        <p:txBody>
          <a:bodyPr>
            <a:normAutofit fontScale="90000"/>
          </a:bodyPr>
          <a:lstStyle/>
          <a:p>
            <a:r>
              <a:rPr lang="de-DE" sz="3600" dirty="0"/>
              <a:t>GANTT CHART</a:t>
            </a:r>
            <a:br>
              <a:rPr lang="de-DE" sz="3200" dirty="0"/>
            </a:br>
            <a:endParaRPr lang="de-DE" dirty="0"/>
          </a:p>
        </p:txBody>
      </p:sp>
      <p:graphicFrame>
        <p:nvGraphicFramePr>
          <p:cNvPr id="8" name="Group 3">
            <a:extLst>
              <a:ext uri="{FF2B5EF4-FFF2-40B4-BE49-F238E27FC236}">
                <a16:creationId xmlns:a16="http://schemas.microsoft.com/office/drawing/2014/main" id="{65374876-1AC4-43BA-BA9F-CD5FA129AAB8}"/>
              </a:ext>
            </a:extLst>
          </p:cNvPr>
          <p:cNvGraphicFramePr>
            <a:graphicFrameLocks noGrp="1"/>
          </p:cNvGraphicFramePr>
          <p:nvPr>
            <p:ph type="tbl" sz="quarter" idx="4294967295"/>
            <p:extLst>
              <p:ext uri="{D42A27DB-BD31-4B8C-83A1-F6EECF244321}">
                <p14:modId xmlns:p14="http://schemas.microsoft.com/office/powerpoint/2010/main" val="2687483782"/>
              </p:ext>
            </p:extLst>
          </p:nvPr>
        </p:nvGraphicFramePr>
        <p:xfrm>
          <a:off x="1648317" y="1450428"/>
          <a:ext cx="8895365" cy="4660871"/>
        </p:xfrm>
        <a:graphic>
          <a:graphicData uri="http://schemas.openxmlformats.org/drawingml/2006/table">
            <a:tbl>
              <a:tblPr>
                <a:tableStyleId>{8799B23B-EC83-4686-B30A-512413B5E67A}</a:tableStyleId>
              </a:tblPr>
              <a:tblGrid>
                <a:gridCol w="1495456">
                  <a:extLst>
                    <a:ext uri="{9D8B030D-6E8A-4147-A177-3AD203B41FA5}">
                      <a16:colId xmlns:a16="http://schemas.microsoft.com/office/drawing/2014/main" val="20000"/>
                    </a:ext>
                  </a:extLst>
                </a:gridCol>
                <a:gridCol w="672719">
                  <a:extLst>
                    <a:ext uri="{9D8B030D-6E8A-4147-A177-3AD203B41FA5}">
                      <a16:colId xmlns:a16="http://schemas.microsoft.com/office/drawing/2014/main" val="20001"/>
                    </a:ext>
                  </a:extLst>
                </a:gridCol>
                <a:gridCol w="672719">
                  <a:extLst>
                    <a:ext uri="{9D8B030D-6E8A-4147-A177-3AD203B41FA5}">
                      <a16:colId xmlns:a16="http://schemas.microsoft.com/office/drawing/2014/main" val="20002"/>
                    </a:ext>
                  </a:extLst>
                </a:gridCol>
                <a:gridCol w="672719">
                  <a:extLst>
                    <a:ext uri="{9D8B030D-6E8A-4147-A177-3AD203B41FA5}">
                      <a16:colId xmlns:a16="http://schemas.microsoft.com/office/drawing/2014/main" val="20003"/>
                    </a:ext>
                  </a:extLst>
                </a:gridCol>
                <a:gridCol w="672719">
                  <a:extLst>
                    <a:ext uri="{9D8B030D-6E8A-4147-A177-3AD203B41FA5}">
                      <a16:colId xmlns:a16="http://schemas.microsoft.com/office/drawing/2014/main" val="20004"/>
                    </a:ext>
                  </a:extLst>
                </a:gridCol>
                <a:gridCol w="672719">
                  <a:extLst>
                    <a:ext uri="{9D8B030D-6E8A-4147-A177-3AD203B41FA5}">
                      <a16:colId xmlns:a16="http://schemas.microsoft.com/office/drawing/2014/main" val="20005"/>
                    </a:ext>
                  </a:extLst>
                </a:gridCol>
                <a:gridCol w="672719">
                  <a:extLst>
                    <a:ext uri="{9D8B030D-6E8A-4147-A177-3AD203B41FA5}">
                      <a16:colId xmlns:a16="http://schemas.microsoft.com/office/drawing/2014/main" val="20006"/>
                    </a:ext>
                  </a:extLst>
                </a:gridCol>
                <a:gridCol w="672719">
                  <a:extLst>
                    <a:ext uri="{9D8B030D-6E8A-4147-A177-3AD203B41FA5}">
                      <a16:colId xmlns:a16="http://schemas.microsoft.com/office/drawing/2014/main" val="20007"/>
                    </a:ext>
                  </a:extLst>
                </a:gridCol>
                <a:gridCol w="672719">
                  <a:extLst>
                    <a:ext uri="{9D8B030D-6E8A-4147-A177-3AD203B41FA5}">
                      <a16:colId xmlns:a16="http://schemas.microsoft.com/office/drawing/2014/main" val="20008"/>
                    </a:ext>
                  </a:extLst>
                </a:gridCol>
                <a:gridCol w="672719">
                  <a:extLst>
                    <a:ext uri="{9D8B030D-6E8A-4147-A177-3AD203B41FA5}">
                      <a16:colId xmlns:a16="http://schemas.microsoft.com/office/drawing/2014/main" val="20009"/>
                    </a:ext>
                  </a:extLst>
                </a:gridCol>
                <a:gridCol w="672719">
                  <a:extLst>
                    <a:ext uri="{9D8B030D-6E8A-4147-A177-3AD203B41FA5}">
                      <a16:colId xmlns:a16="http://schemas.microsoft.com/office/drawing/2014/main" val="20010"/>
                    </a:ext>
                  </a:extLst>
                </a:gridCol>
                <a:gridCol w="672719">
                  <a:extLst>
                    <a:ext uri="{9D8B030D-6E8A-4147-A177-3AD203B41FA5}">
                      <a16:colId xmlns:a16="http://schemas.microsoft.com/office/drawing/2014/main" val="20011"/>
                    </a:ext>
                  </a:extLst>
                </a:gridCol>
              </a:tblGrid>
              <a:tr h="349239">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altLang="ja-JP"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Week</a:t>
                      </a:r>
                      <a:endParaRPr kumimoji="0" lang="en-US" altLang="ja-JP"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200" b="1"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2</a:t>
                      </a:r>
                      <a:endParaRPr kumimoji="0" lang="en-US" sz="1200" b="1" i="0"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200" b="1"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3</a:t>
                      </a:r>
                      <a:endParaRPr kumimoji="0" lang="en-US" sz="1200" b="1" i="0"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0"/>
                  </a:ext>
                </a:extLst>
              </a:tr>
              <a:tr h="30844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altLang="ja-JP"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tarts from</a:t>
                      </a: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200" b="1" i="0"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01.7.</a:t>
                      </a: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200" b="1"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08.07</a:t>
                      </a:r>
                      <a:endParaRPr kumimoji="0" lang="en-US" sz="1200" b="1" i="0" u="none" strike="noStrike" cap="none" normalizeH="0" baseline="0">
                        <a:ln>
                          <a:noFill/>
                        </a:ln>
                        <a:solidFill>
                          <a:schemeClr val="bg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1" i="0" u="none" strike="noStrike" cap="none" normalizeH="0" baseline="0">
                        <a:ln>
                          <a:noFill/>
                        </a:ln>
                        <a:solidFill>
                          <a:schemeClr val="bg1"/>
                        </a:solidFill>
                        <a:effectLst/>
                        <a:latin typeface="Arial" charset="0"/>
                      </a:endParaRP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extLst>
                  <a:ext uri="{0D108BD9-81ED-4DB2-BD59-A6C34878D82A}">
                    <a16:rowId xmlns:a16="http://schemas.microsoft.com/office/drawing/2014/main" val="10001"/>
                  </a:ext>
                </a:extLst>
              </a:tr>
              <a:tr h="308440">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1200" b="1"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tep 1</a:t>
                      </a:r>
                      <a:endPar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0680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1200" b="1"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tep 2</a:t>
                      </a:r>
                      <a:endPar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0680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0680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30844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1200" b="1"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tep 3</a:t>
                      </a:r>
                      <a:endPar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306808">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308440">
                <a:tc>
                  <a:txBody>
                    <a:bodyPr/>
                    <a:lstStyle/>
                    <a:p>
                      <a:pPr marL="0" marR="0" lvl="0" indent="0" algn="l" defTabSz="914400" rtl="0" eaLnBrk="1" fontAlgn="base" latinLnBrk="0" hangingPunct="1">
                        <a:lnSpc>
                          <a:spcPct val="106000"/>
                        </a:lnSpc>
                        <a:spcBef>
                          <a:spcPct val="80000"/>
                        </a:spcBef>
                        <a:spcAft>
                          <a:spcPct val="0"/>
                        </a:spcAft>
                        <a:buClr>
                          <a:schemeClr val="tx2"/>
                        </a:buClr>
                        <a:buSzTx/>
                        <a:buFontTx/>
                        <a:buNone/>
                        <a:tabLst>
                          <a:tab pos="5715000" algn="l"/>
                        </a:tabLst>
                      </a:pPr>
                      <a:r>
                        <a:rPr kumimoji="0" lang="en-US" sz="1200" b="1"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tep 4</a:t>
                      </a:r>
                      <a:endPar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308440">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120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kumimoji="0" lang="en-US" sz="1200" b="0"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86400" marR="86400" marT="46800" marB="46800" anchor="ctr" horzOverflow="overflow">
                    <a:lnL w="12700" cap="flat" cmpd="sng" algn="ctr">
                      <a:no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1100" b="0" i="0" u="none" strike="noStrike" cap="none" normalizeH="0" baseline="0" dirty="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sp>
        <p:nvSpPr>
          <p:cNvPr id="9" name="Rectangle 239">
            <a:extLst>
              <a:ext uri="{FF2B5EF4-FFF2-40B4-BE49-F238E27FC236}">
                <a16:creationId xmlns:a16="http://schemas.microsoft.com/office/drawing/2014/main" id="{7A0F227E-5FB5-4031-8831-32276DEFF26D}"/>
              </a:ext>
            </a:extLst>
          </p:cNvPr>
          <p:cNvSpPr>
            <a:spLocks noChangeArrowheads="1"/>
          </p:cNvSpPr>
          <p:nvPr/>
        </p:nvSpPr>
        <p:spPr bwMode="auto">
          <a:xfrm>
            <a:off x="3270075" y="2467217"/>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1" name="Rectangle 239">
            <a:extLst>
              <a:ext uri="{FF2B5EF4-FFF2-40B4-BE49-F238E27FC236}">
                <a16:creationId xmlns:a16="http://schemas.microsoft.com/office/drawing/2014/main" id="{6683824B-550B-4A2B-9D97-B79261694346}"/>
              </a:ext>
            </a:extLst>
          </p:cNvPr>
          <p:cNvSpPr>
            <a:spLocks noChangeArrowheads="1"/>
          </p:cNvSpPr>
          <p:nvPr/>
        </p:nvSpPr>
        <p:spPr bwMode="auto">
          <a:xfrm>
            <a:off x="3955081" y="2784334"/>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2" name="Rectangle 239">
            <a:extLst>
              <a:ext uri="{FF2B5EF4-FFF2-40B4-BE49-F238E27FC236}">
                <a16:creationId xmlns:a16="http://schemas.microsoft.com/office/drawing/2014/main" id="{0D876A3F-0D25-43EF-BE6C-47EC2B25D38D}"/>
              </a:ext>
            </a:extLst>
          </p:cNvPr>
          <p:cNvSpPr>
            <a:spLocks noChangeArrowheads="1"/>
          </p:cNvSpPr>
          <p:nvPr/>
        </p:nvSpPr>
        <p:spPr bwMode="auto">
          <a:xfrm>
            <a:off x="4620654" y="3095286"/>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3" name="Rectangle 239">
            <a:extLst>
              <a:ext uri="{FF2B5EF4-FFF2-40B4-BE49-F238E27FC236}">
                <a16:creationId xmlns:a16="http://schemas.microsoft.com/office/drawing/2014/main" id="{29647E37-0A89-45B2-AC3B-8E4624177F9D}"/>
              </a:ext>
            </a:extLst>
          </p:cNvPr>
          <p:cNvSpPr>
            <a:spLocks noChangeArrowheads="1"/>
          </p:cNvSpPr>
          <p:nvPr/>
        </p:nvSpPr>
        <p:spPr bwMode="auto">
          <a:xfrm>
            <a:off x="4992711" y="3698504"/>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4" name="Rectangle 239">
            <a:extLst>
              <a:ext uri="{FF2B5EF4-FFF2-40B4-BE49-F238E27FC236}">
                <a16:creationId xmlns:a16="http://schemas.microsoft.com/office/drawing/2014/main" id="{4CFA682B-F735-4406-9774-FB963C4B1B07}"/>
              </a:ext>
            </a:extLst>
          </p:cNvPr>
          <p:cNvSpPr>
            <a:spLocks noChangeArrowheads="1"/>
          </p:cNvSpPr>
          <p:nvPr/>
        </p:nvSpPr>
        <p:spPr bwMode="auto">
          <a:xfrm>
            <a:off x="5664847" y="4014712"/>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5" name="Rectangle 239">
            <a:extLst>
              <a:ext uri="{FF2B5EF4-FFF2-40B4-BE49-F238E27FC236}">
                <a16:creationId xmlns:a16="http://schemas.microsoft.com/office/drawing/2014/main" id="{E964218C-4E72-4FB1-AC85-2767113E06CB}"/>
              </a:ext>
            </a:extLst>
          </p:cNvPr>
          <p:cNvSpPr>
            <a:spLocks noChangeArrowheads="1"/>
          </p:cNvSpPr>
          <p:nvPr/>
        </p:nvSpPr>
        <p:spPr bwMode="auto">
          <a:xfrm>
            <a:off x="6507261" y="4632373"/>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6" name="Rectangle 239">
            <a:extLst>
              <a:ext uri="{FF2B5EF4-FFF2-40B4-BE49-F238E27FC236}">
                <a16:creationId xmlns:a16="http://schemas.microsoft.com/office/drawing/2014/main" id="{7EB4BAE9-81CD-43BE-A6EC-ED7B262D78E0}"/>
              </a:ext>
            </a:extLst>
          </p:cNvPr>
          <p:cNvSpPr>
            <a:spLocks noChangeArrowheads="1"/>
          </p:cNvSpPr>
          <p:nvPr/>
        </p:nvSpPr>
        <p:spPr bwMode="auto">
          <a:xfrm>
            <a:off x="7113440" y="4937149"/>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7" name="Rectangle 239">
            <a:extLst>
              <a:ext uri="{FF2B5EF4-FFF2-40B4-BE49-F238E27FC236}">
                <a16:creationId xmlns:a16="http://schemas.microsoft.com/office/drawing/2014/main" id="{CECD09D9-442D-4EBB-A686-7689796BD4D3}"/>
              </a:ext>
            </a:extLst>
          </p:cNvPr>
          <p:cNvSpPr>
            <a:spLocks noChangeArrowheads="1"/>
          </p:cNvSpPr>
          <p:nvPr/>
        </p:nvSpPr>
        <p:spPr bwMode="auto">
          <a:xfrm>
            <a:off x="7793192" y="5232345"/>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18" name="Rectangle 239">
            <a:extLst>
              <a:ext uri="{FF2B5EF4-FFF2-40B4-BE49-F238E27FC236}">
                <a16:creationId xmlns:a16="http://schemas.microsoft.com/office/drawing/2014/main" id="{52FB6D55-0765-44BD-9F83-967CEE14D43F}"/>
              </a:ext>
            </a:extLst>
          </p:cNvPr>
          <p:cNvSpPr>
            <a:spLocks noChangeArrowheads="1"/>
          </p:cNvSpPr>
          <p:nvPr/>
        </p:nvSpPr>
        <p:spPr bwMode="auto">
          <a:xfrm>
            <a:off x="8614615" y="5860516"/>
            <a:ext cx="1065213" cy="185737"/>
          </a:xfrm>
          <a:prstGeom prst="rect">
            <a:avLst/>
          </a:prstGeom>
          <a:solidFill>
            <a:srgbClr val="8FFAA1"/>
          </a:solidFill>
          <a:ln w="12700" algn="ctr">
            <a:solidFill>
              <a:schemeClr val="bg1"/>
            </a:solidFill>
            <a:miter lim="800000"/>
            <a:headEnd/>
            <a:tailEnd/>
          </a:ln>
        </p:spPr>
        <p:txBody>
          <a:bodyPr wrap="none" lIns="93600" tIns="46800" rIns="93600" bIns="46800" anchor="ctr"/>
          <a:lstStyle/>
          <a:p>
            <a:pPr algn="ctr"/>
            <a:endParaRPr lang="en-US"/>
          </a:p>
        </p:txBody>
      </p:sp>
      <p:sp>
        <p:nvSpPr>
          <p:cNvPr id="20" name="Rectangle 255">
            <a:extLst>
              <a:ext uri="{FF2B5EF4-FFF2-40B4-BE49-F238E27FC236}">
                <a16:creationId xmlns:a16="http://schemas.microsoft.com/office/drawing/2014/main" id="{8AD2FA96-8C25-4E58-98AB-98393572135E}"/>
              </a:ext>
            </a:extLst>
          </p:cNvPr>
          <p:cNvSpPr>
            <a:spLocks noChangeArrowheads="1"/>
          </p:cNvSpPr>
          <p:nvPr/>
        </p:nvSpPr>
        <p:spPr bwMode="gray">
          <a:xfrm rot="2700000">
            <a:off x="3741191" y="6212683"/>
            <a:ext cx="144000" cy="144000"/>
          </a:xfrm>
          <a:prstGeom prst="rect">
            <a:avLst/>
          </a:prstGeom>
          <a:solidFill>
            <a:srgbClr val="333F4C"/>
          </a:solidFill>
          <a:ln w="12700" algn="ctr">
            <a:solidFill>
              <a:schemeClr val="bg1"/>
            </a:solidFill>
            <a:miter lim="800000"/>
            <a:headEnd/>
            <a:tailEnd/>
          </a:ln>
        </p:spPr>
        <p:txBody>
          <a:bodyPr/>
          <a:lstStyle/>
          <a:p>
            <a:endParaRPr lang="en-US"/>
          </a:p>
        </p:txBody>
      </p:sp>
      <p:sp>
        <p:nvSpPr>
          <p:cNvPr id="21" name="Text Box 251">
            <a:extLst>
              <a:ext uri="{FF2B5EF4-FFF2-40B4-BE49-F238E27FC236}">
                <a16:creationId xmlns:a16="http://schemas.microsoft.com/office/drawing/2014/main" id="{EF7FFD1A-4678-4AD5-B067-D71407CC8751}"/>
              </a:ext>
            </a:extLst>
          </p:cNvPr>
          <p:cNvSpPr txBox="1">
            <a:spLocks noChangeArrowheads="1"/>
          </p:cNvSpPr>
          <p:nvPr/>
        </p:nvSpPr>
        <p:spPr bwMode="auto">
          <a:xfrm>
            <a:off x="3423661" y="6447748"/>
            <a:ext cx="779059" cy="184666"/>
          </a:xfrm>
          <a:prstGeom prst="rect">
            <a:avLst/>
          </a:prstGeom>
          <a:noFill/>
          <a:ln w="9525" algn="ctr">
            <a:noFill/>
            <a:miter lim="800000"/>
            <a:headEnd/>
            <a:tailEnd/>
          </a:ln>
        </p:spPr>
        <p:txBody>
          <a:bodyPr wrap="square" lIns="0" tIns="0" rIns="0" bIns="0">
            <a:spAutoFit/>
          </a:bodyPr>
          <a:lstStyle/>
          <a:p>
            <a:pPr algn="ctr">
              <a:buClr>
                <a:schemeClr val="bg1"/>
              </a:buClr>
              <a:buSzPct val="100000"/>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milestone</a:t>
            </a:r>
          </a:p>
        </p:txBody>
      </p:sp>
      <p:sp>
        <p:nvSpPr>
          <p:cNvPr id="22" name="Rectangle 255">
            <a:extLst>
              <a:ext uri="{FF2B5EF4-FFF2-40B4-BE49-F238E27FC236}">
                <a16:creationId xmlns:a16="http://schemas.microsoft.com/office/drawing/2014/main" id="{13CB6E49-EE36-4932-BB1B-ED0A8505FA7E}"/>
              </a:ext>
            </a:extLst>
          </p:cNvPr>
          <p:cNvSpPr>
            <a:spLocks noChangeArrowheads="1"/>
          </p:cNvSpPr>
          <p:nvPr/>
        </p:nvSpPr>
        <p:spPr bwMode="gray">
          <a:xfrm rot="2700000">
            <a:off x="5081259" y="6207522"/>
            <a:ext cx="144000" cy="144000"/>
          </a:xfrm>
          <a:prstGeom prst="rect">
            <a:avLst/>
          </a:prstGeom>
          <a:solidFill>
            <a:srgbClr val="333F4C"/>
          </a:solidFill>
          <a:ln w="12700" algn="ctr">
            <a:solidFill>
              <a:schemeClr val="bg1"/>
            </a:solidFill>
            <a:miter lim="800000"/>
            <a:headEnd/>
            <a:tailEnd/>
          </a:ln>
        </p:spPr>
        <p:txBody>
          <a:bodyPr/>
          <a:lstStyle/>
          <a:p>
            <a:endParaRPr lang="en-US"/>
          </a:p>
        </p:txBody>
      </p:sp>
      <p:sp>
        <p:nvSpPr>
          <p:cNvPr id="23" name="Rectangle 255">
            <a:extLst>
              <a:ext uri="{FF2B5EF4-FFF2-40B4-BE49-F238E27FC236}">
                <a16:creationId xmlns:a16="http://schemas.microsoft.com/office/drawing/2014/main" id="{77E387CB-8262-4B4D-9C7F-12A6CB6FEF57}"/>
              </a:ext>
            </a:extLst>
          </p:cNvPr>
          <p:cNvSpPr>
            <a:spLocks noChangeArrowheads="1"/>
          </p:cNvSpPr>
          <p:nvPr/>
        </p:nvSpPr>
        <p:spPr bwMode="gray">
          <a:xfrm rot="2700000">
            <a:off x="6227275" y="6207523"/>
            <a:ext cx="144000" cy="144000"/>
          </a:xfrm>
          <a:prstGeom prst="rect">
            <a:avLst/>
          </a:prstGeom>
          <a:solidFill>
            <a:srgbClr val="333F4C"/>
          </a:solidFill>
          <a:ln w="12700" algn="ctr">
            <a:solidFill>
              <a:schemeClr val="bg1"/>
            </a:solidFill>
            <a:miter lim="800000"/>
            <a:headEnd/>
            <a:tailEnd/>
          </a:ln>
        </p:spPr>
        <p:txBody>
          <a:bodyPr/>
          <a:lstStyle/>
          <a:p>
            <a:endParaRPr lang="en-US"/>
          </a:p>
        </p:txBody>
      </p:sp>
      <p:sp>
        <p:nvSpPr>
          <p:cNvPr id="24" name="Rectangle 255">
            <a:extLst>
              <a:ext uri="{FF2B5EF4-FFF2-40B4-BE49-F238E27FC236}">
                <a16:creationId xmlns:a16="http://schemas.microsoft.com/office/drawing/2014/main" id="{011D53A6-90B4-4316-A5C2-7858A0D5EAFD}"/>
              </a:ext>
            </a:extLst>
          </p:cNvPr>
          <p:cNvSpPr>
            <a:spLocks noChangeArrowheads="1"/>
          </p:cNvSpPr>
          <p:nvPr/>
        </p:nvSpPr>
        <p:spPr bwMode="gray">
          <a:xfrm rot="2700000">
            <a:off x="9369980" y="6207523"/>
            <a:ext cx="144000" cy="144000"/>
          </a:xfrm>
          <a:prstGeom prst="rect">
            <a:avLst/>
          </a:prstGeom>
          <a:solidFill>
            <a:srgbClr val="333F4C"/>
          </a:solidFill>
          <a:ln w="12700" algn="ctr">
            <a:solidFill>
              <a:schemeClr val="bg1"/>
            </a:solidFill>
            <a:miter lim="800000"/>
            <a:headEnd/>
            <a:tailEnd/>
          </a:ln>
        </p:spPr>
        <p:txBody>
          <a:bodyPr/>
          <a:lstStyle/>
          <a:p>
            <a:endParaRPr lang="en-US"/>
          </a:p>
        </p:txBody>
      </p:sp>
      <p:sp>
        <p:nvSpPr>
          <p:cNvPr id="25" name="Text Box 251">
            <a:extLst>
              <a:ext uri="{FF2B5EF4-FFF2-40B4-BE49-F238E27FC236}">
                <a16:creationId xmlns:a16="http://schemas.microsoft.com/office/drawing/2014/main" id="{137561FC-446E-486E-AD64-CD282A30A567}"/>
              </a:ext>
            </a:extLst>
          </p:cNvPr>
          <p:cNvSpPr txBox="1">
            <a:spLocks noChangeArrowheads="1"/>
          </p:cNvSpPr>
          <p:nvPr/>
        </p:nvSpPr>
        <p:spPr bwMode="auto">
          <a:xfrm>
            <a:off x="5909745" y="6442144"/>
            <a:ext cx="779059" cy="184666"/>
          </a:xfrm>
          <a:prstGeom prst="rect">
            <a:avLst/>
          </a:prstGeom>
          <a:noFill/>
          <a:ln w="9525" algn="ctr">
            <a:noFill/>
            <a:miter lim="800000"/>
            <a:headEnd/>
            <a:tailEnd/>
          </a:ln>
        </p:spPr>
        <p:txBody>
          <a:bodyPr wrap="square" lIns="0" tIns="0" rIns="0" bIns="0">
            <a:spAutoFit/>
          </a:bodyPr>
          <a:lstStyle/>
          <a:p>
            <a:pPr algn="ctr">
              <a:buClr>
                <a:schemeClr val="bg1"/>
              </a:buClr>
              <a:buSzPct val="100000"/>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milestone</a:t>
            </a:r>
          </a:p>
        </p:txBody>
      </p:sp>
      <p:sp>
        <p:nvSpPr>
          <p:cNvPr id="26" name="Text Box 251">
            <a:extLst>
              <a:ext uri="{FF2B5EF4-FFF2-40B4-BE49-F238E27FC236}">
                <a16:creationId xmlns:a16="http://schemas.microsoft.com/office/drawing/2014/main" id="{63031E81-1EC3-428C-A526-5E98A723BC0D}"/>
              </a:ext>
            </a:extLst>
          </p:cNvPr>
          <p:cNvSpPr txBox="1">
            <a:spLocks noChangeArrowheads="1"/>
          </p:cNvSpPr>
          <p:nvPr/>
        </p:nvSpPr>
        <p:spPr bwMode="auto">
          <a:xfrm>
            <a:off x="9052450" y="6451077"/>
            <a:ext cx="779059" cy="184666"/>
          </a:xfrm>
          <a:prstGeom prst="rect">
            <a:avLst/>
          </a:prstGeom>
          <a:noFill/>
          <a:ln w="9525" algn="ctr">
            <a:noFill/>
            <a:miter lim="800000"/>
            <a:headEnd/>
            <a:tailEnd/>
          </a:ln>
        </p:spPr>
        <p:txBody>
          <a:bodyPr wrap="square" lIns="0" tIns="0" rIns="0" bIns="0">
            <a:spAutoFit/>
          </a:bodyPr>
          <a:lstStyle/>
          <a:p>
            <a:pPr algn="ctr">
              <a:buClr>
                <a:schemeClr val="bg1"/>
              </a:buClr>
              <a:buSzPct val="100000"/>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milestone</a:t>
            </a:r>
          </a:p>
        </p:txBody>
      </p:sp>
      <p:sp>
        <p:nvSpPr>
          <p:cNvPr id="27" name="Text Box 251">
            <a:extLst>
              <a:ext uri="{FF2B5EF4-FFF2-40B4-BE49-F238E27FC236}">
                <a16:creationId xmlns:a16="http://schemas.microsoft.com/office/drawing/2014/main" id="{8CEF50D4-A472-4251-973F-0B7E8F29C605}"/>
              </a:ext>
            </a:extLst>
          </p:cNvPr>
          <p:cNvSpPr txBox="1">
            <a:spLocks noChangeArrowheads="1"/>
          </p:cNvSpPr>
          <p:nvPr/>
        </p:nvSpPr>
        <p:spPr bwMode="auto">
          <a:xfrm>
            <a:off x="4763730" y="6445081"/>
            <a:ext cx="779059" cy="184666"/>
          </a:xfrm>
          <a:prstGeom prst="rect">
            <a:avLst/>
          </a:prstGeom>
          <a:noFill/>
          <a:ln w="9525" algn="ctr">
            <a:noFill/>
            <a:miter lim="800000"/>
            <a:headEnd/>
            <a:tailEnd/>
          </a:ln>
        </p:spPr>
        <p:txBody>
          <a:bodyPr wrap="square" lIns="0" tIns="0" rIns="0" bIns="0">
            <a:spAutoFit/>
          </a:bodyPr>
          <a:lstStyle/>
          <a:p>
            <a:pPr algn="ctr">
              <a:buClr>
                <a:schemeClr val="bg1"/>
              </a:buClr>
              <a:buSzPct val="100000"/>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milestone</a:t>
            </a:r>
          </a:p>
        </p:txBody>
      </p:sp>
      <p:sp>
        <p:nvSpPr>
          <p:cNvPr id="3" name="Foliennummernplatzhalter 2">
            <a:extLst>
              <a:ext uri="{FF2B5EF4-FFF2-40B4-BE49-F238E27FC236}">
                <a16:creationId xmlns:a16="http://schemas.microsoft.com/office/drawing/2014/main" id="{1E36008D-EDB7-495D-9299-536C91B8F703}"/>
              </a:ext>
            </a:extLst>
          </p:cNvPr>
          <p:cNvSpPr>
            <a:spLocks noGrp="1"/>
          </p:cNvSpPr>
          <p:nvPr>
            <p:ph type="sldNum" sz="quarter" idx="13"/>
          </p:nvPr>
        </p:nvSpPr>
        <p:spPr/>
        <p:txBody>
          <a:bodyPr/>
          <a:lstStyle/>
          <a:p>
            <a:fld id="{A6E611E7-8F6D-48FF-A375-CD1E8B06DE97}" type="slidenum">
              <a:rPr lang="de-AT" smtClean="0"/>
              <a:t>16</a:t>
            </a:fld>
            <a:endParaRPr lang="de-AT" dirty="0"/>
          </a:p>
        </p:txBody>
      </p:sp>
    </p:spTree>
    <p:extLst>
      <p:ext uri="{BB962C8B-B14F-4D97-AF65-F5344CB8AC3E}">
        <p14:creationId xmlns:p14="http://schemas.microsoft.com/office/powerpoint/2010/main" val="2581714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683AFE-E0A2-E2B3-8FDE-695A0A1D13B2}"/>
              </a:ext>
            </a:extLst>
          </p:cNvPr>
          <p:cNvSpPr>
            <a:spLocks noGrp="1"/>
          </p:cNvSpPr>
          <p:nvPr>
            <p:ph type="title"/>
          </p:nvPr>
        </p:nvSpPr>
        <p:spPr/>
        <p:txBody>
          <a:bodyPr/>
          <a:lstStyle/>
          <a:p>
            <a:r>
              <a:rPr lang="de-DE" dirty="0" err="1">
                <a:latin typeface="Century"/>
              </a:rPr>
              <a:t>Specification</a:t>
            </a:r>
            <a:endParaRPr lang="de-DE" dirty="0"/>
          </a:p>
        </p:txBody>
      </p:sp>
      <p:sp>
        <p:nvSpPr>
          <p:cNvPr id="3" name="Textplatzhalter 2">
            <a:extLst>
              <a:ext uri="{FF2B5EF4-FFF2-40B4-BE49-F238E27FC236}">
                <a16:creationId xmlns:a16="http://schemas.microsoft.com/office/drawing/2014/main" id="{EE68F17E-154C-1CFA-D67B-046EF8CD0C6A}"/>
              </a:ext>
            </a:extLst>
          </p:cNvPr>
          <p:cNvSpPr>
            <a:spLocks noGrp="1"/>
          </p:cNvSpPr>
          <p:nvPr>
            <p:ph type="body" sz="quarter" idx="4294967295"/>
          </p:nvPr>
        </p:nvSpPr>
        <p:spPr>
          <a:xfrm>
            <a:off x="2846182" y="1256292"/>
            <a:ext cx="8051800" cy="913144"/>
          </a:xfrm>
          <a:prstGeom prst="rect">
            <a:avLst/>
          </a:prstGeom>
        </p:spPr>
        <p:txBody>
          <a:bodyPr/>
          <a:lstStyle/>
          <a:p>
            <a:endParaRPr lang="de-DE"/>
          </a:p>
        </p:txBody>
      </p:sp>
      <p:sp>
        <p:nvSpPr>
          <p:cNvPr id="4" name="Textplatzhalter 3">
            <a:extLst>
              <a:ext uri="{FF2B5EF4-FFF2-40B4-BE49-F238E27FC236}">
                <a16:creationId xmlns:a16="http://schemas.microsoft.com/office/drawing/2014/main" id="{94773B7B-2117-2B56-F397-41F10B850962}"/>
              </a:ext>
            </a:extLst>
          </p:cNvPr>
          <p:cNvSpPr>
            <a:spLocks noGrp="1"/>
          </p:cNvSpPr>
          <p:nvPr>
            <p:ph type="body" sz="quarter" idx="4294967295"/>
          </p:nvPr>
        </p:nvSpPr>
        <p:spPr>
          <a:xfrm>
            <a:off x="2846182" y="2642641"/>
            <a:ext cx="8051800" cy="913144"/>
          </a:xfrm>
          <a:prstGeom prst="rect">
            <a:avLst/>
          </a:prstGeom>
        </p:spPr>
        <p:txBody>
          <a:bodyPr/>
          <a:lstStyle/>
          <a:p>
            <a:endParaRPr lang="de-DE"/>
          </a:p>
        </p:txBody>
      </p:sp>
      <p:sp>
        <p:nvSpPr>
          <p:cNvPr id="5" name="Textplatzhalter 4">
            <a:extLst>
              <a:ext uri="{FF2B5EF4-FFF2-40B4-BE49-F238E27FC236}">
                <a16:creationId xmlns:a16="http://schemas.microsoft.com/office/drawing/2014/main" id="{208EB2DA-318A-3881-9777-3512532F23E7}"/>
              </a:ext>
            </a:extLst>
          </p:cNvPr>
          <p:cNvSpPr>
            <a:spLocks noGrp="1"/>
          </p:cNvSpPr>
          <p:nvPr>
            <p:ph type="body" sz="quarter" idx="4294967295"/>
          </p:nvPr>
        </p:nvSpPr>
        <p:spPr>
          <a:xfrm>
            <a:off x="2846182" y="4028990"/>
            <a:ext cx="8051800" cy="913144"/>
          </a:xfrm>
          <a:prstGeom prst="rect">
            <a:avLst/>
          </a:prstGeom>
        </p:spPr>
        <p:txBody>
          <a:bodyPr/>
          <a:lstStyle/>
          <a:p>
            <a:endParaRPr lang="de-DE"/>
          </a:p>
        </p:txBody>
      </p:sp>
      <p:sp>
        <p:nvSpPr>
          <p:cNvPr id="6" name="Textplatzhalter 5">
            <a:extLst>
              <a:ext uri="{FF2B5EF4-FFF2-40B4-BE49-F238E27FC236}">
                <a16:creationId xmlns:a16="http://schemas.microsoft.com/office/drawing/2014/main" id="{367A3A65-8AFB-19CD-24F6-F4BD3EDDC4D9}"/>
              </a:ext>
            </a:extLst>
          </p:cNvPr>
          <p:cNvSpPr>
            <a:spLocks noGrp="1"/>
          </p:cNvSpPr>
          <p:nvPr>
            <p:ph type="body" sz="quarter" idx="4294967295"/>
          </p:nvPr>
        </p:nvSpPr>
        <p:spPr>
          <a:xfrm>
            <a:off x="2846182" y="5444835"/>
            <a:ext cx="8051800" cy="913144"/>
          </a:xfrm>
          <a:prstGeom prst="rect">
            <a:avLst/>
          </a:prstGeom>
        </p:spPr>
        <p:txBody>
          <a:bodyPr/>
          <a:lstStyle/>
          <a:p>
            <a:endParaRPr lang="de-DE"/>
          </a:p>
        </p:txBody>
      </p:sp>
      <p:sp>
        <p:nvSpPr>
          <p:cNvPr id="7" name="Textplatzhalter 6">
            <a:extLst>
              <a:ext uri="{FF2B5EF4-FFF2-40B4-BE49-F238E27FC236}">
                <a16:creationId xmlns:a16="http://schemas.microsoft.com/office/drawing/2014/main" id="{91009C49-D566-5804-700F-44AD053244BB}"/>
              </a:ext>
            </a:extLst>
          </p:cNvPr>
          <p:cNvSpPr>
            <a:spLocks noGrp="1"/>
          </p:cNvSpPr>
          <p:nvPr>
            <p:ph type="body" sz="quarter" idx="4294967295"/>
          </p:nvPr>
        </p:nvSpPr>
        <p:spPr>
          <a:xfrm>
            <a:off x="958389" y="5444835"/>
            <a:ext cx="1290253" cy="913144"/>
          </a:xfrm>
          <a:prstGeom prst="rect">
            <a:avLst/>
          </a:prstGeom>
        </p:spPr>
        <p:txBody>
          <a:bodyPr/>
          <a:lstStyle/>
          <a:p>
            <a:pPr marL="0" indent="0">
              <a:buNone/>
            </a:pPr>
            <a:endParaRPr lang="de-DE" dirty="0"/>
          </a:p>
        </p:txBody>
      </p:sp>
      <p:sp>
        <p:nvSpPr>
          <p:cNvPr id="8" name="Textplatzhalter 7">
            <a:extLst>
              <a:ext uri="{FF2B5EF4-FFF2-40B4-BE49-F238E27FC236}">
                <a16:creationId xmlns:a16="http://schemas.microsoft.com/office/drawing/2014/main" id="{32D09DB1-A77A-D9E2-8EFB-E6FC52F620D8}"/>
              </a:ext>
            </a:extLst>
          </p:cNvPr>
          <p:cNvSpPr>
            <a:spLocks noGrp="1"/>
          </p:cNvSpPr>
          <p:nvPr>
            <p:ph type="body" sz="quarter" idx="4294967295"/>
          </p:nvPr>
        </p:nvSpPr>
        <p:spPr>
          <a:xfrm>
            <a:off x="958389" y="4058487"/>
            <a:ext cx="1290253" cy="913144"/>
          </a:xfrm>
          <a:prstGeom prst="rect">
            <a:avLst/>
          </a:prstGeom>
        </p:spPr>
        <p:txBody>
          <a:bodyPr/>
          <a:lstStyle/>
          <a:p>
            <a:pPr marL="0" indent="0">
              <a:buNone/>
            </a:pPr>
            <a:endParaRPr lang="de-DE" dirty="0"/>
          </a:p>
        </p:txBody>
      </p:sp>
      <p:sp>
        <p:nvSpPr>
          <p:cNvPr id="9" name="Textplatzhalter 8">
            <a:extLst>
              <a:ext uri="{FF2B5EF4-FFF2-40B4-BE49-F238E27FC236}">
                <a16:creationId xmlns:a16="http://schemas.microsoft.com/office/drawing/2014/main" id="{A31A5CDF-0B29-56C7-2D77-1F57831028C1}"/>
              </a:ext>
            </a:extLst>
          </p:cNvPr>
          <p:cNvSpPr>
            <a:spLocks noGrp="1"/>
          </p:cNvSpPr>
          <p:nvPr>
            <p:ph type="body" sz="quarter" idx="4294967295"/>
          </p:nvPr>
        </p:nvSpPr>
        <p:spPr>
          <a:xfrm>
            <a:off x="958389" y="2642642"/>
            <a:ext cx="1290253" cy="913144"/>
          </a:xfrm>
          <a:prstGeom prst="rect">
            <a:avLst/>
          </a:prstGeom>
        </p:spPr>
        <p:txBody>
          <a:bodyPr/>
          <a:lstStyle/>
          <a:p>
            <a:pPr marL="0" indent="0">
              <a:buNone/>
            </a:pPr>
            <a:endParaRPr lang="de-DE" dirty="0"/>
          </a:p>
        </p:txBody>
      </p:sp>
      <p:sp>
        <p:nvSpPr>
          <p:cNvPr id="10" name="Textplatzhalter 9">
            <a:extLst>
              <a:ext uri="{FF2B5EF4-FFF2-40B4-BE49-F238E27FC236}">
                <a16:creationId xmlns:a16="http://schemas.microsoft.com/office/drawing/2014/main" id="{23B9DC66-9B96-2CB0-D0EF-D0DD1BAF8A5B}"/>
              </a:ext>
            </a:extLst>
          </p:cNvPr>
          <p:cNvSpPr>
            <a:spLocks noGrp="1"/>
          </p:cNvSpPr>
          <p:nvPr>
            <p:ph type="body" sz="quarter" idx="4294967295"/>
          </p:nvPr>
        </p:nvSpPr>
        <p:spPr>
          <a:xfrm>
            <a:off x="958389" y="1256293"/>
            <a:ext cx="1290253" cy="913144"/>
          </a:xfrm>
          <a:prstGeom prst="rect">
            <a:avLst/>
          </a:prstGeom>
        </p:spPr>
        <p:txBody>
          <a:bodyPr/>
          <a:lstStyle/>
          <a:p>
            <a:pPr marL="0" indent="0">
              <a:buNone/>
            </a:pPr>
            <a:endParaRPr lang="de-DE" dirty="0"/>
          </a:p>
        </p:txBody>
      </p:sp>
      <p:sp>
        <p:nvSpPr>
          <p:cNvPr id="11" name="Foliennummernplatzhalter 10">
            <a:extLst>
              <a:ext uri="{FF2B5EF4-FFF2-40B4-BE49-F238E27FC236}">
                <a16:creationId xmlns:a16="http://schemas.microsoft.com/office/drawing/2014/main" id="{798AB099-0DF9-4B11-A579-F336EF0BCF34}"/>
              </a:ext>
            </a:extLst>
          </p:cNvPr>
          <p:cNvSpPr>
            <a:spLocks noGrp="1"/>
          </p:cNvSpPr>
          <p:nvPr>
            <p:ph type="sldNum" sz="quarter" idx="20"/>
          </p:nvPr>
        </p:nvSpPr>
        <p:spPr/>
        <p:txBody>
          <a:bodyPr/>
          <a:lstStyle/>
          <a:p>
            <a:fld id="{23A8C71E-D222-49FC-9304-2DE29525E0AD}" type="slidenum">
              <a:rPr lang="de-AT" smtClean="0"/>
              <a:t>17</a:t>
            </a:fld>
            <a:endParaRPr lang="de-AT"/>
          </a:p>
        </p:txBody>
      </p:sp>
    </p:spTree>
    <p:extLst>
      <p:ext uri="{BB962C8B-B14F-4D97-AF65-F5344CB8AC3E}">
        <p14:creationId xmlns:p14="http://schemas.microsoft.com/office/powerpoint/2010/main" val="1374449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FECC1B0-8FB8-4707-8F41-2B9BB3E6F13C}"/>
              </a:ext>
            </a:extLst>
          </p:cNvPr>
          <p:cNvSpPr>
            <a:spLocks noGrp="1"/>
          </p:cNvSpPr>
          <p:nvPr>
            <p:ph type="sldNum" sz="quarter" idx="16"/>
          </p:nvPr>
        </p:nvSpPr>
        <p:spPr/>
        <p:txBody>
          <a:bodyPr/>
          <a:lstStyle/>
          <a:p>
            <a:fld id="{BA30C15F-51C3-47A6-B763-2B0929D5DF4D}" type="slidenum">
              <a:rPr lang="de-AT" smtClean="0"/>
              <a:t>18</a:t>
            </a:fld>
            <a:endParaRPr lang="de-AT"/>
          </a:p>
        </p:txBody>
      </p:sp>
      <p:sp>
        <p:nvSpPr>
          <p:cNvPr id="6" name="Freeform 2">
            <a:extLst>
              <a:ext uri="{FF2B5EF4-FFF2-40B4-BE49-F238E27FC236}">
                <a16:creationId xmlns:a16="http://schemas.microsoft.com/office/drawing/2014/main" id="{CB89AD84-F1C8-4D09-9736-384036963D4D}"/>
              </a:ext>
            </a:extLst>
          </p:cNvPr>
          <p:cNvSpPr>
            <a:spLocks/>
          </p:cNvSpPr>
          <p:nvPr/>
        </p:nvSpPr>
        <p:spPr bwMode="blackWhite">
          <a:xfrm>
            <a:off x="207209" y="243250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F0F0F0"/>
          </a:solidFill>
          <a:ln w="12700" cap="rnd">
            <a:solidFill>
              <a:schemeClr val="bg1"/>
            </a:solidFill>
            <a:round/>
            <a:headEnd/>
            <a:tailEnd/>
          </a:ln>
        </p:spPr>
        <p:txBody>
          <a:bodyPr lIns="36000" tIns="36000" rIns="36000" bIns="36000" anchor="ctr"/>
          <a:lstStyle/>
          <a:p>
            <a:pPr algn="ctr">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7" name="Freeform 2">
            <a:extLst>
              <a:ext uri="{FF2B5EF4-FFF2-40B4-BE49-F238E27FC236}">
                <a16:creationId xmlns:a16="http://schemas.microsoft.com/office/drawing/2014/main" id="{E4E76064-4EA0-4637-B790-E6CBFB60E65A}"/>
              </a:ext>
            </a:extLst>
          </p:cNvPr>
          <p:cNvSpPr>
            <a:spLocks/>
          </p:cNvSpPr>
          <p:nvPr/>
        </p:nvSpPr>
        <p:spPr bwMode="blackWhite">
          <a:xfrm>
            <a:off x="1440557" y="1709738"/>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8FFAA1"/>
          </a:solidFill>
          <a:ln w="12700" cap="rnd">
            <a:solidFill>
              <a:schemeClr val="bg1"/>
            </a:solidFill>
            <a:round/>
            <a:headEnd/>
            <a:tailEnd/>
          </a:ln>
        </p:spPr>
        <p:txBody>
          <a:bodyPr lIns="36000" tIns="36000" rIns="36000" bIns="36000" anchor="ctr"/>
          <a:lstStyle/>
          <a:p>
            <a:pPr algn="ctr">
              <a:defRPr/>
            </a:pPr>
            <a:r>
              <a:rPr lang="en-US" sz="14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8" name="Freeform 2">
            <a:extLst>
              <a:ext uri="{FF2B5EF4-FFF2-40B4-BE49-F238E27FC236}">
                <a16:creationId xmlns:a16="http://schemas.microsoft.com/office/drawing/2014/main" id="{0A5D0EA4-4800-406D-AE2C-A7445A1A04C1}"/>
              </a:ext>
            </a:extLst>
          </p:cNvPr>
          <p:cNvSpPr>
            <a:spLocks/>
          </p:cNvSpPr>
          <p:nvPr/>
        </p:nvSpPr>
        <p:spPr bwMode="blackWhite">
          <a:xfrm>
            <a:off x="2673905" y="243250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FF9E79"/>
          </a:solidFill>
          <a:ln w="12700" cap="rnd">
            <a:solidFill>
              <a:schemeClr val="bg1"/>
            </a:solidFill>
            <a:round/>
            <a:headEnd/>
            <a:tailEnd/>
          </a:ln>
        </p:spPr>
        <p:txBody>
          <a:bodyPr lIns="36000" tIns="36000" rIns="36000" bIns="36000" anchor="ctr"/>
          <a:lstStyle/>
          <a:p>
            <a:pPr algn="ctr">
              <a:defRPr/>
            </a:pPr>
            <a:r>
              <a:rPr lang="en-US" sz="14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9" name="Freeform 2">
            <a:extLst>
              <a:ext uri="{FF2B5EF4-FFF2-40B4-BE49-F238E27FC236}">
                <a16:creationId xmlns:a16="http://schemas.microsoft.com/office/drawing/2014/main" id="{F1D28C06-BC8E-47E6-B4C5-C7A9294633E5}"/>
              </a:ext>
            </a:extLst>
          </p:cNvPr>
          <p:cNvSpPr>
            <a:spLocks/>
          </p:cNvSpPr>
          <p:nvPr/>
        </p:nvSpPr>
        <p:spPr bwMode="blackWhite">
          <a:xfrm>
            <a:off x="1440557" y="3155270"/>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C7FCD0"/>
          </a:solidFill>
          <a:ln w="12700" cap="rnd">
            <a:solidFill>
              <a:schemeClr val="bg1"/>
            </a:solidFill>
            <a:round/>
            <a:headEnd/>
            <a:tailEnd/>
          </a:ln>
        </p:spPr>
        <p:txBody>
          <a:bodyPr lIns="36000" tIns="36000" rIns="36000" bIns="36000" anchor="ctr"/>
          <a:lstStyle/>
          <a:p>
            <a:pPr algn="ctr">
              <a:defRPr/>
            </a:pPr>
            <a:r>
              <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0" name="Freeform 2">
            <a:extLst>
              <a:ext uri="{FF2B5EF4-FFF2-40B4-BE49-F238E27FC236}">
                <a16:creationId xmlns:a16="http://schemas.microsoft.com/office/drawing/2014/main" id="{63484169-C89D-48CA-9B99-08112AFDABB9}"/>
              </a:ext>
            </a:extLst>
          </p:cNvPr>
          <p:cNvSpPr>
            <a:spLocks/>
          </p:cNvSpPr>
          <p:nvPr/>
        </p:nvSpPr>
        <p:spPr bwMode="blackWhite">
          <a:xfrm>
            <a:off x="207209" y="3888922"/>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333F4C"/>
          </a:solidFill>
          <a:ln w="12700" cap="rnd">
            <a:solidFill>
              <a:schemeClr val="bg1"/>
            </a:solidFill>
            <a:round/>
            <a:headEnd/>
            <a:tailEnd/>
          </a:ln>
        </p:spPr>
        <p:txBody>
          <a:bodyPr lIns="36000" tIns="36000" rIns="36000" bIns="36000" anchor="ctr"/>
          <a:lstStyle/>
          <a:p>
            <a:pPr algn="ctr">
              <a:defRPr/>
            </a:pPr>
            <a:r>
              <a:rPr lang="en-US" sz="14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1" name="Freeform 2">
            <a:extLst>
              <a:ext uri="{FF2B5EF4-FFF2-40B4-BE49-F238E27FC236}">
                <a16:creationId xmlns:a16="http://schemas.microsoft.com/office/drawing/2014/main" id="{D3F5215D-AC8D-4E46-98C7-DD34B6AC75A6}"/>
              </a:ext>
            </a:extLst>
          </p:cNvPr>
          <p:cNvSpPr>
            <a:spLocks/>
          </p:cNvSpPr>
          <p:nvPr/>
        </p:nvSpPr>
        <p:spPr bwMode="blackWhite">
          <a:xfrm>
            <a:off x="2673905" y="3888922"/>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accent6"/>
          </a:solidFill>
          <a:ln w="12700" cap="rnd">
            <a:solidFill>
              <a:schemeClr val="bg1"/>
            </a:solidFill>
            <a:round/>
            <a:headEnd/>
            <a:tailEnd/>
          </a:ln>
        </p:spPr>
        <p:txBody>
          <a:bodyPr lIns="36000" tIns="36000" rIns="36000" bIns="36000" anchor="ctr"/>
          <a:lstStyle/>
          <a:p>
            <a:pPr algn="ctr">
              <a:defRPr/>
            </a:pPr>
            <a:r>
              <a:rPr lang="en-US" sz="14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2" name="Freeform 2">
            <a:extLst>
              <a:ext uri="{FF2B5EF4-FFF2-40B4-BE49-F238E27FC236}">
                <a16:creationId xmlns:a16="http://schemas.microsoft.com/office/drawing/2014/main" id="{53BD261C-604E-4646-B821-5B55E01B636C}"/>
              </a:ext>
            </a:extLst>
          </p:cNvPr>
          <p:cNvSpPr>
            <a:spLocks/>
          </p:cNvSpPr>
          <p:nvPr>
            <p:custDataLst>
              <p:tags r:id="rId1"/>
            </p:custDataLst>
          </p:nvPr>
        </p:nvSpPr>
        <p:spPr bwMode="blackWhite">
          <a:xfrm>
            <a:off x="1440557" y="4589916"/>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accent4"/>
          </a:solidFill>
          <a:ln w="12700" cap="rnd">
            <a:solidFill>
              <a:schemeClr val="bg1"/>
            </a:solidFill>
            <a:round/>
            <a:headEnd/>
            <a:tailEnd/>
          </a:ln>
        </p:spPr>
        <p:txBody>
          <a:bodyPr lIns="36000" tIns="36000" rIns="36000" bIns="36000" anchor="ctr"/>
          <a:lstStyle/>
          <a:p>
            <a:pPr algn="ctr">
              <a:defRPr/>
            </a:pPr>
            <a:r>
              <a:rPr lang="en-US" sz="14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3" name="Freeform 8">
            <a:extLst>
              <a:ext uri="{FF2B5EF4-FFF2-40B4-BE49-F238E27FC236}">
                <a16:creationId xmlns:a16="http://schemas.microsoft.com/office/drawing/2014/main" id="{6F482AA8-FD65-4843-A59C-0C66FD7A1BF1}"/>
              </a:ext>
            </a:extLst>
          </p:cNvPr>
          <p:cNvSpPr>
            <a:spLocks/>
          </p:cNvSpPr>
          <p:nvPr/>
        </p:nvSpPr>
        <p:spPr bwMode="blackWhite">
          <a:xfrm>
            <a:off x="5234781" y="4624904"/>
            <a:ext cx="1722438" cy="1643063"/>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rgbClr val="8FFAA1"/>
          </a:solidFill>
          <a:ln w="12700" cap="rnd">
            <a:solidFill>
              <a:schemeClr val="bg1"/>
            </a:solidFill>
            <a:round/>
            <a:headEnd/>
            <a:tailEnd/>
          </a:ln>
        </p:spPr>
        <p:txBody>
          <a:bodyPr wrap="square" lIns="36000" tIns="36000" rIns="36000" bIns="288000" anchor="ctr">
            <a:noAutofit/>
          </a:bodyPr>
          <a:lstStyle/>
          <a:p>
            <a:pPr algn="ct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4" name="Isosceles Triangle 3">
            <a:extLst>
              <a:ext uri="{FF2B5EF4-FFF2-40B4-BE49-F238E27FC236}">
                <a16:creationId xmlns:a16="http://schemas.microsoft.com/office/drawing/2014/main" id="{35E8AF77-0760-40AC-B612-579008B4D19C}"/>
              </a:ext>
            </a:extLst>
          </p:cNvPr>
          <p:cNvSpPr/>
          <p:nvPr/>
        </p:nvSpPr>
        <p:spPr>
          <a:xfrm>
            <a:off x="5234753" y="2983304"/>
            <a:ext cx="1722493" cy="1641600"/>
          </a:xfrm>
          <a:prstGeom prst="triangle">
            <a:avLst/>
          </a:prstGeom>
          <a:solidFill>
            <a:srgbClr val="FF9E79"/>
          </a:solidFill>
          <a:ln w="12700" cap="rnd">
            <a:solidFill>
              <a:schemeClr val="bg1"/>
            </a:solidFill>
            <a:round/>
            <a:headEnd/>
            <a:tailEnd/>
          </a:ln>
        </p:spPr>
        <p:txBody>
          <a:bodyPr wrap="square" lIns="36000" tIns="36000" rIns="36000" bIns="288000" anchor="ctr">
            <a:noAutofit/>
          </a:bodyPr>
          <a:lstStyle/>
          <a:p>
            <a:pPr algn="ctr"/>
            <a:r>
              <a:rPr lang="en-US" sz="14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5" name="Isosceles Triangle 23">
            <a:extLst>
              <a:ext uri="{FF2B5EF4-FFF2-40B4-BE49-F238E27FC236}">
                <a16:creationId xmlns:a16="http://schemas.microsoft.com/office/drawing/2014/main" id="{4BE2D12C-CAE8-4341-84D6-30269CEC53E8}"/>
              </a:ext>
            </a:extLst>
          </p:cNvPr>
          <p:cNvSpPr/>
          <p:nvPr/>
        </p:nvSpPr>
        <p:spPr>
          <a:xfrm>
            <a:off x="6096000" y="4624904"/>
            <a:ext cx="1722493" cy="1641600"/>
          </a:xfrm>
          <a:prstGeom prst="triangle">
            <a:avLst/>
          </a:prstGeom>
          <a:solidFill>
            <a:srgbClr val="C7FCD0"/>
          </a:solidFill>
          <a:ln w="12700" cap="rnd">
            <a:solidFill>
              <a:schemeClr val="bg1"/>
            </a:solidFill>
            <a:round/>
            <a:headEnd/>
            <a:tailEnd/>
          </a:ln>
        </p:spPr>
        <p:txBody>
          <a:bodyPr lIns="36000" tIns="36000" rIns="36000" bIns="36000" anchor="ctr"/>
          <a:lstStyle/>
          <a:p>
            <a:pPr algn="ct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6" name="Isosceles Triangle 22">
            <a:extLst>
              <a:ext uri="{FF2B5EF4-FFF2-40B4-BE49-F238E27FC236}">
                <a16:creationId xmlns:a16="http://schemas.microsoft.com/office/drawing/2014/main" id="{A61557AD-4C21-4639-B012-74A9D8D4FB1D}"/>
              </a:ext>
            </a:extLst>
          </p:cNvPr>
          <p:cNvSpPr/>
          <p:nvPr/>
        </p:nvSpPr>
        <p:spPr>
          <a:xfrm>
            <a:off x="4373507" y="4624904"/>
            <a:ext cx="1722493" cy="1641600"/>
          </a:xfrm>
          <a:prstGeom prst="triangle">
            <a:avLst/>
          </a:prstGeom>
          <a:solidFill>
            <a:srgbClr val="333F4C"/>
          </a:solidFill>
          <a:ln w="12700" cap="rnd">
            <a:solidFill>
              <a:srgbClr val="FFFFFF"/>
            </a:solidFill>
            <a:round/>
            <a:headEnd/>
            <a:tailEnd/>
          </a:ln>
        </p:spPr>
        <p:txBody>
          <a:bodyPr wrap="square" lIns="36000" tIns="36000" rIns="36000" bIns="288000" anchor="ctr">
            <a:noAutofit/>
          </a:bodyPr>
          <a:lstStyle/>
          <a:p>
            <a:pPr marL="0" marR="0" lvl="0" indent="0" algn="ctr" defTabSz="91444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nvGrpSpPr>
          <p:cNvPr id="17" name="Group 3">
            <a:extLst>
              <a:ext uri="{FF2B5EF4-FFF2-40B4-BE49-F238E27FC236}">
                <a16:creationId xmlns:a16="http://schemas.microsoft.com/office/drawing/2014/main" id="{BA8D7E4B-25F3-4DBF-AE45-4EF66D3DA1FB}"/>
              </a:ext>
            </a:extLst>
          </p:cNvPr>
          <p:cNvGrpSpPr>
            <a:grpSpLocks/>
          </p:cNvGrpSpPr>
          <p:nvPr/>
        </p:nvGrpSpPr>
        <p:grpSpPr bwMode="auto">
          <a:xfrm>
            <a:off x="7393880" y="1482044"/>
            <a:ext cx="3357563" cy="3346451"/>
            <a:chOff x="557" y="1281"/>
            <a:chExt cx="2291" cy="2108"/>
          </a:xfrm>
        </p:grpSpPr>
        <p:sp>
          <p:nvSpPr>
            <p:cNvPr id="18" name="Freeform 4">
              <a:extLst>
                <a:ext uri="{FF2B5EF4-FFF2-40B4-BE49-F238E27FC236}">
                  <a16:creationId xmlns:a16="http://schemas.microsoft.com/office/drawing/2014/main" id="{8FF63359-36C3-411F-96CD-0A1795486EF9}"/>
                </a:ext>
              </a:extLst>
            </p:cNvPr>
            <p:cNvSpPr>
              <a:spLocks/>
            </p:cNvSpPr>
            <p:nvPr/>
          </p:nvSpPr>
          <p:spPr bwMode="auto">
            <a:xfrm>
              <a:off x="557"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FFAA1"/>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sp>
          <p:nvSpPr>
            <p:cNvPr id="19" name="Freeform 5">
              <a:extLst>
                <a:ext uri="{FF2B5EF4-FFF2-40B4-BE49-F238E27FC236}">
                  <a16:creationId xmlns:a16="http://schemas.microsoft.com/office/drawing/2014/main" id="{4C3DDA1E-20BB-446F-942C-5C86D671C738}"/>
                </a:ext>
              </a:extLst>
            </p:cNvPr>
            <p:cNvSpPr>
              <a:spLocks/>
            </p:cNvSpPr>
            <p:nvPr/>
          </p:nvSpPr>
          <p:spPr bwMode="auto">
            <a:xfrm rot="16200000">
              <a:off x="460"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FF9E79"/>
            </a:solidFill>
            <a:ln w="12700">
              <a:solidFill>
                <a:schemeClr val="bg1"/>
              </a:solidFill>
              <a:round/>
              <a:headEnd/>
              <a:tailEnd/>
            </a:ln>
          </p:spPr>
          <p:txBody>
            <a:bodyPr wrap="none" lIns="36000" tIns="36000" rIns="36000" bIns="36000" anchor="ctr"/>
            <a:lstStyle/>
            <a:p>
              <a:pPr algn="ctr">
                <a:defRPr/>
              </a:pPr>
              <a:endParaRPr lang="en-US" sz="1400">
                <a:solidFill>
                  <a:schemeClr val="bg1"/>
                </a:solidFill>
              </a:endParaRPr>
            </a:p>
          </p:txBody>
        </p:sp>
        <p:sp>
          <p:nvSpPr>
            <p:cNvPr id="20" name="Freeform 6">
              <a:extLst>
                <a:ext uri="{FF2B5EF4-FFF2-40B4-BE49-F238E27FC236}">
                  <a16:creationId xmlns:a16="http://schemas.microsoft.com/office/drawing/2014/main" id="{4D1821F1-0E7F-42E3-B062-EF7D4E030030}"/>
                </a:ext>
              </a:extLst>
            </p:cNvPr>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EBECED"/>
            </a:solidFill>
            <a:ln w="12700">
              <a:solidFill>
                <a:schemeClr val="bg1"/>
              </a:solidFill>
              <a:round/>
              <a:headEnd/>
              <a:tailEnd/>
            </a:ln>
          </p:spPr>
          <p:txBody>
            <a:bodyPr wrap="none" lIns="36000" tIns="36000" rIns="36000" bIns="36000" anchor="ctr"/>
            <a:lstStyle/>
            <a:p>
              <a:pPr algn="ctr">
                <a:defRPr/>
              </a:pPr>
              <a:endParaRPr lang="en-US" sz="1400">
                <a:solidFill>
                  <a:schemeClr val="bg1"/>
                </a:solidFill>
              </a:endParaRPr>
            </a:p>
          </p:txBody>
        </p:sp>
        <p:sp>
          <p:nvSpPr>
            <p:cNvPr id="21" name="Freeform 7">
              <a:extLst>
                <a:ext uri="{FF2B5EF4-FFF2-40B4-BE49-F238E27FC236}">
                  <a16:creationId xmlns:a16="http://schemas.microsoft.com/office/drawing/2014/main" id="{69467129-6296-41D0-8638-9675D0D43524}"/>
                </a:ext>
              </a:extLst>
            </p:cNvPr>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333F4C"/>
            </a:solidFill>
            <a:ln w="12700">
              <a:solidFill>
                <a:schemeClr val="bg1"/>
              </a:solidFill>
              <a:round/>
              <a:headEnd/>
              <a:tailEnd/>
            </a:ln>
          </p:spPr>
          <p:txBody>
            <a:bodyPr wrap="none" lIns="36000" tIns="36000" rIns="36000" bIns="36000" anchor="ctr"/>
            <a:lstStyle/>
            <a:p>
              <a:pPr algn="ctr"/>
              <a:endParaRPr lang="en-US" sz="1400">
                <a:solidFill>
                  <a:schemeClr val="bg1"/>
                </a:solidFill>
              </a:endParaRPr>
            </a:p>
          </p:txBody>
        </p:sp>
      </p:grpSp>
      <p:sp>
        <p:nvSpPr>
          <p:cNvPr id="26" name="Title 1">
            <a:extLst>
              <a:ext uri="{FF2B5EF4-FFF2-40B4-BE49-F238E27FC236}">
                <a16:creationId xmlns:a16="http://schemas.microsoft.com/office/drawing/2014/main" id="{996FDD45-C110-4651-8112-A1D835FF449A}"/>
              </a:ext>
            </a:extLst>
          </p:cNvPr>
          <p:cNvSpPr>
            <a:spLocks noGrp="1"/>
          </p:cNvSpPr>
          <p:nvPr>
            <p:ph type="title"/>
            <p:custDataLst>
              <p:tags r:id="rId2"/>
            </p:custDataLst>
          </p:nvPr>
        </p:nvSpPr>
        <p:spPr>
          <a:xfrm>
            <a:off x="493484" y="295683"/>
            <a:ext cx="9231541" cy="469492"/>
          </a:xfrm>
        </p:spPr>
        <p:txBody>
          <a:bodyPr/>
          <a:lstStyle/>
          <a:p>
            <a:pPr>
              <a:lnSpc>
                <a:spcPct val="100000"/>
              </a:lnSpc>
            </a:pPr>
            <a:r>
              <a:rPr lang="en-US" dirty="0">
                <a:latin typeface="Century"/>
              </a:rPr>
              <a:t>Shapes </a:t>
            </a:r>
            <a:br>
              <a:rPr lang="en-US" dirty="0"/>
            </a:br>
            <a:endParaRPr lang="en-US" dirty="0">
              <a:latin typeface="Century"/>
            </a:endParaRPr>
          </a:p>
        </p:txBody>
      </p:sp>
    </p:spTree>
    <p:extLst>
      <p:ext uri="{BB962C8B-B14F-4D97-AF65-F5344CB8AC3E}">
        <p14:creationId xmlns:p14="http://schemas.microsoft.com/office/powerpoint/2010/main" val="366983890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DFECC1B0-8FB8-4707-8F41-2B9BB3E6F13C}"/>
              </a:ext>
            </a:extLst>
          </p:cNvPr>
          <p:cNvSpPr>
            <a:spLocks noGrp="1"/>
          </p:cNvSpPr>
          <p:nvPr>
            <p:ph type="sldNum" sz="quarter" idx="16"/>
          </p:nvPr>
        </p:nvSpPr>
        <p:spPr/>
        <p:txBody>
          <a:bodyPr/>
          <a:lstStyle/>
          <a:p>
            <a:fld id="{BA30C15F-51C3-47A6-B763-2B0929D5DF4D}" type="slidenum">
              <a:rPr lang="de-AT" smtClean="0"/>
              <a:t>19</a:t>
            </a:fld>
            <a:endParaRPr lang="de-AT"/>
          </a:p>
        </p:txBody>
      </p:sp>
      <p:sp>
        <p:nvSpPr>
          <p:cNvPr id="26" name="Title 1">
            <a:extLst>
              <a:ext uri="{FF2B5EF4-FFF2-40B4-BE49-F238E27FC236}">
                <a16:creationId xmlns:a16="http://schemas.microsoft.com/office/drawing/2014/main" id="{996FDD45-C110-4651-8112-A1D835FF449A}"/>
              </a:ext>
            </a:extLst>
          </p:cNvPr>
          <p:cNvSpPr>
            <a:spLocks noGrp="1"/>
          </p:cNvSpPr>
          <p:nvPr>
            <p:ph type="title"/>
            <p:custDataLst>
              <p:tags r:id="rId1"/>
            </p:custDataLst>
          </p:nvPr>
        </p:nvSpPr>
        <p:spPr>
          <a:xfrm>
            <a:off x="493484" y="295683"/>
            <a:ext cx="9231541" cy="469492"/>
          </a:xfrm>
        </p:spPr>
        <p:txBody>
          <a:bodyPr/>
          <a:lstStyle/>
          <a:p>
            <a:pPr>
              <a:lnSpc>
                <a:spcPct val="100000"/>
              </a:lnSpc>
            </a:pPr>
            <a:r>
              <a:rPr lang="en-US" dirty="0">
                <a:latin typeface="Century"/>
              </a:rPr>
              <a:t>Speech bubbles</a:t>
            </a:r>
            <a:br>
              <a:rPr lang="en-US" dirty="0"/>
            </a:br>
            <a:endParaRPr lang="en-US" dirty="0">
              <a:latin typeface="Century"/>
            </a:endParaRPr>
          </a:p>
        </p:txBody>
      </p:sp>
      <p:sp>
        <p:nvSpPr>
          <p:cNvPr id="23" name="Sprechblase: rechteckig mit abgerundeten Ecken 22">
            <a:extLst>
              <a:ext uri="{FF2B5EF4-FFF2-40B4-BE49-F238E27FC236}">
                <a16:creationId xmlns:a16="http://schemas.microsoft.com/office/drawing/2014/main" id="{EA984CBE-5ECB-4832-A15D-ECE3CBD27B0F}"/>
              </a:ext>
            </a:extLst>
          </p:cNvPr>
          <p:cNvSpPr/>
          <p:nvPr/>
        </p:nvSpPr>
        <p:spPr>
          <a:xfrm flipH="1">
            <a:off x="1969814" y="4449672"/>
            <a:ext cx="2073866" cy="1234440"/>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4" name="Sprechblase: rechteckig mit abgerundeten Ecken 23">
            <a:extLst>
              <a:ext uri="{FF2B5EF4-FFF2-40B4-BE49-F238E27FC236}">
                <a16:creationId xmlns:a16="http://schemas.microsoft.com/office/drawing/2014/main" id="{ACB173E0-9F47-4237-84BD-88251E0DA006}"/>
              </a:ext>
            </a:extLst>
          </p:cNvPr>
          <p:cNvSpPr/>
          <p:nvPr/>
        </p:nvSpPr>
        <p:spPr>
          <a:xfrm>
            <a:off x="1329734" y="1351280"/>
            <a:ext cx="2519680" cy="1351280"/>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7" name="Sprechblase: rechteckig mit abgerundeten Ecken 26">
            <a:extLst>
              <a:ext uri="{FF2B5EF4-FFF2-40B4-BE49-F238E27FC236}">
                <a16:creationId xmlns:a16="http://schemas.microsoft.com/office/drawing/2014/main" id="{A179A594-F3D4-4C1E-BA0F-D47145B0177B}"/>
              </a:ext>
            </a:extLst>
          </p:cNvPr>
          <p:cNvSpPr/>
          <p:nvPr/>
        </p:nvSpPr>
        <p:spPr>
          <a:xfrm flipH="1">
            <a:off x="4714241" y="2463800"/>
            <a:ext cx="1559560" cy="965200"/>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8" name="Sprechblase: rechteckig mit abgerundeten Ecken 27">
            <a:extLst>
              <a:ext uri="{FF2B5EF4-FFF2-40B4-BE49-F238E27FC236}">
                <a16:creationId xmlns:a16="http://schemas.microsoft.com/office/drawing/2014/main" id="{E4D3C347-59F4-492E-B012-ED38AC45B69A}"/>
              </a:ext>
            </a:extLst>
          </p:cNvPr>
          <p:cNvSpPr/>
          <p:nvPr/>
        </p:nvSpPr>
        <p:spPr>
          <a:xfrm>
            <a:off x="5494021" y="4902862"/>
            <a:ext cx="1818638" cy="1084988"/>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9" name="Sprechblase: rechteckig mit abgerundeten Ecken 28">
            <a:extLst>
              <a:ext uri="{FF2B5EF4-FFF2-40B4-BE49-F238E27FC236}">
                <a16:creationId xmlns:a16="http://schemas.microsoft.com/office/drawing/2014/main" id="{6B2AD88C-34B8-4FAD-83F5-30218DE87456}"/>
              </a:ext>
            </a:extLst>
          </p:cNvPr>
          <p:cNvSpPr/>
          <p:nvPr/>
        </p:nvSpPr>
        <p:spPr>
          <a:xfrm flipH="1">
            <a:off x="8148322" y="3817874"/>
            <a:ext cx="3027678" cy="1084988"/>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0" name="Sprechblase: rechteckig mit abgerundeten Ecken 29">
            <a:extLst>
              <a:ext uri="{FF2B5EF4-FFF2-40B4-BE49-F238E27FC236}">
                <a16:creationId xmlns:a16="http://schemas.microsoft.com/office/drawing/2014/main" id="{381F9EE3-2161-4A9C-BD39-F620FB298E30}"/>
              </a:ext>
            </a:extLst>
          </p:cNvPr>
          <p:cNvSpPr/>
          <p:nvPr/>
        </p:nvSpPr>
        <p:spPr>
          <a:xfrm flipH="1">
            <a:off x="7741921" y="1397000"/>
            <a:ext cx="1559560" cy="1428165"/>
          </a:xfrm>
          <a:prstGeom prst="wedgeRoundRectCallout">
            <a:avLst>
              <a:gd name="adj1" fmla="val -5914"/>
              <a:gd name="adj2" fmla="val 692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 name="Textfeld 2">
            <a:extLst>
              <a:ext uri="{FF2B5EF4-FFF2-40B4-BE49-F238E27FC236}">
                <a16:creationId xmlns:a16="http://schemas.microsoft.com/office/drawing/2014/main" id="{3ECA451F-9CD7-49E4-9383-959BEB9A0FF3}"/>
              </a:ext>
            </a:extLst>
          </p:cNvPr>
          <p:cNvSpPr txBox="1"/>
          <p:nvPr/>
        </p:nvSpPr>
        <p:spPr>
          <a:xfrm>
            <a:off x="2189479" y="1808480"/>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1" name="Textfeld 30">
            <a:extLst>
              <a:ext uri="{FF2B5EF4-FFF2-40B4-BE49-F238E27FC236}">
                <a16:creationId xmlns:a16="http://schemas.microsoft.com/office/drawing/2014/main" id="{0C570B03-DB91-4B66-88DB-A1B28A58FEDD}"/>
              </a:ext>
            </a:extLst>
          </p:cNvPr>
          <p:cNvSpPr txBox="1"/>
          <p:nvPr/>
        </p:nvSpPr>
        <p:spPr>
          <a:xfrm>
            <a:off x="2656227" y="4902862"/>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2" name="Textfeld 31">
            <a:extLst>
              <a:ext uri="{FF2B5EF4-FFF2-40B4-BE49-F238E27FC236}">
                <a16:creationId xmlns:a16="http://schemas.microsoft.com/office/drawing/2014/main" id="{8C6F711B-19CA-443A-80B3-8CF01A5B0811}"/>
              </a:ext>
            </a:extLst>
          </p:cNvPr>
          <p:cNvSpPr txBox="1"/>
          <p:nvPr/>
        </p:nvSpPr>
        <p:spPr>
          <a:xfrm>
            <a:off x="5143501" y="2761734"/>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3" name="Textfeld 32">
            <a:extLst>
              <a:ext uri="{FF2B5EF4-FFF2-40B4-BE49-F238E27FC236}">
                <a16:creationId xmlns:a16="http://schemas.microsoft.com/office/drawing/2014/main" id="{721787E0-EEBE-4A74-BBFC-56A1CCE89E27}"/>
              </a:ext>
            </a:extLst>
          </p:cNvPr>
          <p:cNvSpPr txBox="1"/>
          <p:nvPr/>
        </p:nvSpPr>
        <p:spPr>
          <a:xfrm>
            <a:off x="8171181" y="1931046"/>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4" name="Textfeld 33">
            <a:extLst>
              <a:ext uri="{FF2B5EF4-FFF2-40B4-BE49-F238E27FC236}">
                <a16:creationId xmlns:a16="http://schemas.microsoft.com/office/drawing/2014/main" id="{91F0EB31-82AF-4E7D-AC8D-6321A809176A}"/>
              </a:ext>
            </a:extLst>
          </p:cNvPr>
          <p:cNvSpPr txBox="1"/>
          <p:nvPr/>
        </p:nvSpPr>
        <p:spPr>
          <a:xfrm>
            <a:off x="6096000" y="5260690"/>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5" name="Textfeld 34">
            <a:extLst>
              <a:ext uri="{FF2B5EF4-FFF2-40B4-BE49-F238E27FC236}">
                <a16:creationId xmlns:a16="http://schemas.microsoft.com/office/drawing/2014/main" id="{A9182B03-E419-4AB5-9F85-80D9DE894F50}"/>
              </a:ext>
            </a:extLst>
          </p:cNvPr>
          <p:cNvSpPr txBox="1"/>
          <p:nvPr/>
        </p:nvSpPr>
        <p:spPr>
          <a:xfrm>
            <a:off x="8521701" y="4175702"/>
            <a:ext cx="701040" cy="369332"/>
          </a:xfrm>
          <a:prstGeom prst="rect">
            <a:avLst/>
          </a:prstGeom>
          <a:noFill/>
        </p:spPr>
        <p:txBody>
          <a:bodyPr wrap="square" rtlCol="0">
            <a:spAutoFit/>
          </a:bodyPr>
          <a:lstStyle/>
          <a:p>
            <a:r>
              <a:rPr lang="de-AT"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Tree>
    <p:extLst>
      <p:ext uri="{BB962C8B-B14F-4D97-AF65-F5344CB8AC3E}">
        <p14:creationId xmlns:p14="http://schemas.microsoft.com/office/powerpoint/2010/main" val="340802886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Bildplatzhalter 12" descr="Ein Bild, das Person, drinnen enthält.&#10;&#10;Automatisch generierte Beschreibung">
            <a:extLst>
              <a:ext uri="{FF2B5EF4-FFF2-40B4-BE49-F238E27FC236}">
                <a16:creationId xmlns:a16="http://schemas.microsoft.com/office/drawing/2014/main" id="{C87BB6B0-D0A3-4C82-86B3-410D2F3A5EA8}"/>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p:pic>
      <p:sp>
        <p:nvSpPr>
          <p:cNvPr id="5" name="Bildplatzhalter 4">
            <a:extLst>
              <a:ext uri="{FF2B5EF4-FFF2-40B4-BE49-F238E27FC236}">
                <a16:creationId xmlns:a16="http://schemas.microsoft.com/office/drawing/2014/main" id="{4548FF15-479C-4F3E-9271-3C196D7F8606}"/>
              </a:ext>
            </a:extLst>
          </p:cNvPr>
          <p:cNvSpPr>
            <a:spLocks noGrp="1"/>
          </p:cNvSpPr>
          <p:nvPr>
            <p:ph type="pic" sz="quarter" idx="12"/>
          </p:nvPr>
        </p:nvSpPr>
        <p:spPr>
          <a:xfrm>
            <a:off x="720725" y="378833"/>
            <a:ext cx="1384634" cy="652385"/>
          </a:xfrm>
        </p:spPr>
      </p:sp>
      <p:sp>
        <p:nvSpPr>
          <p:cNvPr id="7" name="Textplatzhalter 2">
            <a:extLst>
              <a:ext uri="{FF2B5EF4-FFF2-40B4-BE49-F238E27FC236}">
                <a16:creationId xmlns:a16="http://schemas.microsoft.com/office/drawing/2014/main" id="{F0046CC1-F5A1-4A84-9ACF-783208655A27}"/>
              </a:ext>
            </a:extLst>
          </p:cNvPr>
          <p:cNvSpPr txBox="1">
            <a:spLocks/>
          </p:cNvSpPr>
          <p:nvPr/>
        </p:nvSpPr>
        <p:spPr>
          <a:xfrm>
            <a:off x="720725" y="2363787"/>
            <a:ext cx="5133975" cy="157090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tx1"/>
                </a:solidFill>
                <a:latin typeface="Century" panose="020406040505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600" dirty="0"/>
              <a:t>PROPOSAL</a:t>
            </a:r>
          </a:p>
          <a:p>
            <a:r>
              <a:rPr lang="de-DE" sz="3600" dirty="0"/>
              <a:t>„PROPOSAL NAME“</a:t>
            </a:r>
          </a:p>
        </p:txBody>
      </p:sp>
      <p:sp>
        <p:nvSpPr>
          <p:cNvPr id="8" name="Textfeld 7">
            <a:extLst>
              <a:ext uri="{FF2B5EF4-FFF2-40B4-BE49-F238E27FC236}">
                <a16:creationId xmlns:a16="http://schemas.microsoft.com/office/drawing/2014/main" id="{BA8FC134-8621-4125-85C4-8A8B8910B371}"/>
              </a:ext>
            </a:extLst>
          </p:cNvPr>
          <p:cNvSpPr txBox="1"/>
          <p:nvPr/>
        </p:nvSpPr>
        <p:spPr>
          <a:xfrm>
            <a:off x="720725" y="5270341"/>
            <a:ext cx="1337682" cy="307777"/>
          </a:xfrm>
          <a:prstGeom prst="rect">
            <a:avLst/>
          </a:prstGeom>
          <a:noFill/>
        </p:spPr>
        <p:txBody>
          <a:bodyPr wrap="square" rtlCol="0">
            <a:spAutoFit/>
          </a:bodyPr>
          <a:lstStyle/>
          <a:p>
            <a:r>
              <a:rPr lang="de-AT" sz="1400" dirty="0">
                <a:latin typeface="Microsoft Sans Serif" panose="020B0604020202020204" pitchFamily="34" charset="0"/>
                <a:ea typeface="Microsoft Sans Serif" panose="020B0604020202020204" pitchFamily="34" charset="0"/>
                <a:cs typeface="Microsoft Sans Serif" panose="020B0604020202020204" pitchFamily="34" charset="0"/>
              </a:rPr>
              <a:t>DD.MM.YYYY</a:t>
            </a:r>
          </a:p>
        </p:txBody>
      </p:sp>
    </p:spTree>
    <p:extLst>
      <p:ext uri="{BB962C8B-B14F-4D97-AF65-F5344CB8AC3E}">
        <p14:creationId xmlns:p14="http://schemas.microsoft.com/office/powerpoint/2010/main" val="3072494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EA1780B-0C40-4218-A40A-75D8FE2F5197}"/>
              </a:ext>
            </a:extLst>
          </p:cNvPr>
          <p:cNvSpPr>
            <a:spLocks noGrp="1"/>
          </p:cNvSpPr>
          <p:nvPr>
            <p:ph type="sldNum" sz="quarter" idx="16"/>
          </p:nvPr>
        </p:nvSpPr>
        <p:spPr/>
        <p:txBody>
          <a:bodyPr/>
          <a:lstStyle/>
          <a:p>
            <a:fld id="{BA30C15F-51C3-47A6-B763-2B0929D5DF4D}" type="slidenum">
              <a:rPr lang="de-AT" smtClean="0"/>
              <a:t>20</a:t>
            </a:fld>
            <a:endParaRPr lang="de-AT"/>
          </a:p>
        </p:txBody>
      </p:sp>
      <p:sp>
        <p:nvSpPr>
          <p:cNvPr id="6" name="AutoShape 3">
            <a:extLst>
              <a:ext uri="{FF2B5EF4-FFF2-40B4-BE49-F238E27FC236}">
                <a16:creationId xmlns:a16="http://schemas.microsoft.com/office/drawing/2014/main" id="{87364821-25F4-419A-A8E4-7F5129AD3393}"/>
              </a:ext>
            </a:extLst>
          </p:cNvPr>
          <p:cNvSpPr>
            <a:spLocks noChangeArrowheads="1"/>
          </p:cNvSpPr>
          <p:nvPr/>
        </p:nvSpPr>
        <p:spPr bwMode="gray">
          <a:xfrm>
            <a:off x="2239779" y="1827246"/>
            <a:ext cx="7713662" cy="584200"/>
          </a:xfrm>
          <a:prstGeom prst="chevron">
            <a:avLst>
              <a:gd name="adj" fmla="val 32576"/>
            </a:avLst>
          </a:prstGeom>
          <a:solidFill>
            <a:schemeClr val="accent1"/>
          </a:solid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kumimoji="0" lang="en-US" sz="1400" b="1" i="0" u="none" strike="noStrike" kern="0" cap="none" spc="0" normalizeH="0" baseline="0" noProof="0">
                <a:ln>
                  <a:noFill/>
                </a:ln>
                <a:solidFill>
                  <a:srgbClr val="313131"/>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nvGrpSpPr>
          <p:cNvPr id="7" name="Group 4">
            <a:extLst>
              <a:ext uri="{FF2B5EF4-FFF2-40B4-BE49-F238E27FC236}">
                <a16:creationId xmlns:a16="http://schemas.microsoft.com/office/drawing/2014/main" id="{48436D03-1F9C-4DAB-950D-BBE3F738A6CF}"/>
              </a:ext>
            </a:extLst>
          </p:cNvPr>
          <p:cNvGrpSpPr>
            <a:grpSpLocks/>
          </p:cNvGrpSpPr>
          <p:nvPr/>
        </p:nvGrpSpPr>
        <p:grpSpPr bwMode="auto">
          <a:xfrm>
            <a:off x="2240389" y="2552998"/>
            <a:ext cx="7712319" cy="584200"/>
            <a:chOff x="247" y="728"/>
            <a:chExt cx="5263" cy="368"/>
          </a:xfrm>
          <a:solidFill>
            <a:schemeClr val="accent1"/>
          </a:solidFill>
        </p:grpSpPr>
        <p:sp>
          <p:nvSpPr>
            <p:cNvPr id="8" name="AutoShape 5">
              <a:extLst>
                <a:ext uri="{FF2B5EF4-FFF2-40B4-BE49-F238E27FC236}">
                  <a16:creationId xmlns:a16="http://schemas.microsoft.com/office/drawing/2014/main" id="{1DFE435B-18F8-40C6-9001-04B9664105C1}"/>
                </a:ext>
              </a:extLst>
            </p:cNvPr>
            <p:cNvSpPr>
              <a:spLocks noChangeArrowheads="1"/>
            </p:cNvSpPr>
            <p:nvPr/>
          </p:nvSpPr>
          <p:spPr bwMode="gray">
            <a:xfrm>
              <a:off x="247" y="728"/>
              <a:ext cx="2688" cy="368"/>
            </a:xfrm>
            <a:prstGeom prst="chevron">
              <a:avLst>
                <a:gd name="adj" fmla="val 32565"/>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9" name="AutoShape 6">
              <a:extLst>
                <a:ext uri="{FF2B5EF4-FFF2-40B4-BE49-F238E27FC236}">
                  <a16:creationId xmlns:a16="http://schemas.microsoft.com/office/drawing/2014/main" id="{7ADF27BD-313C-40C2-9836-454E24847B69}"/>
                </a:ext>
              </a:extLst>
            </p:cNvPr>
            <p:cNvSpPr>
              <a:spLocks noChangeArrowheads="1"/>
            </p:cNvSpPr>
            <p:nvPr/>
          </p:nvSpPr>
          <p:spPr bwMode="gray">
            <a:xfrm>
              <a:off x="2830" y="728"/>
              <a:ext cx="2680" cy="368"/>
            </a:xfrm>
            <a:prstGeom prst="chevron">
              <a:avLst>
                <a:gd name="adj" fmla="val 32435"/>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kumimoji="0" lang="en-US" sz="1400" b="1" i="0" u="none" strike="noStrike" kern="0" cap="none" spc="0" normalizeH="0" baseline="0" noProof="0">
                  <a:ln>
                    <a:noFill/>
                  </a:ln>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grpSp>
        <p:nvGrpSpPr>
          <p:cNvPr id="10" name="Group 7">
            <a:extLst>
              <a:ext uri="{FF2B5EF4-FFF2-40B4-BE49-F238E27FC236}">
                <a16:creationId xmlns:a16="http://schemas.microsoft.com/office/drawing/2014/main" id="{DF973282-4E72-4975-883B-689AA0A4E9AC}"/>
              </a:ext>
            </a:extLst>
          </p:cNvPr>
          <p:cNvGrpSpPr>
            <a:grpSpLocks/>
          </p:cNvGrpSpPr>
          <p:nvPr/>
        </p:nvGrpSpPr>
        <p:grpSpPr bwMode="auto">
          <a:xfrm>
            <a:off x="2240389" y="3278750"/>
            <a:ext cx="7712319" cy="584200"/>
            <a:chOff x="247" y="728"/>
            <a:chExt cx="5263" cy="368"/>
          </a:xfrm>
          <a:solidFill>
            <a:schemeClr val="accent1"/>
          </a:solidFill>
        </p:grpSpPr>
        <p:sp>
          <p:nvSpPr>
            <p:cNvPr id="11" name="AutoShape 8">
              <a:extLst>
                <a:ext uri="{FF2B5EF4-FFF2-40B4-BE49-F238E27FC236}">
                  <a16:creationId xmlns:a16="http://schemas.microsoft.com/office/drawing/2014/main" id="{30E17367-E973-40C8-88D7-C625E74B384D}"/>
                </a:ext>
              </a:extLst>
            </p:cNvPr>
            <p:cNvSpPr>
              <a:spLocks noChangeArrowheads="1"/>
            </p:cNvSpPr>
            <p:nvPr/>
          </p:nvSpPr>
          <p:spPr bwMode="gray">
            <a:xfrm>
              <a:off x="247" y="728"/>
              <a:ext cx="1822" cy="368"/>
            </a:xfrm>
            <a:prstGeom prst="chevron">
              <a:avLst>
                <a:gd name="adj" fmla="val 32411"/>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2" name="AutoShape 9">
              <a:extLst>
                <a:ext uri="{FF2B5EF4-FFF2-40B4-BE49-F238E27FC236}">
                  <a16:creationId xmlns:a16="http://schemas.microsoft.com/office/drawing/2014/main" id="{758FE511-E15B-4431-8486-C9FC8C261A4C}"/>
                </a:ext>
              </a:extLst>
            </p:cNvPr>
            <p:cNvSpPr>
              <a:spLocks noChangeArrowheads="1"/>
            </p:cNvSpPr>
            <p:nvPr/>
          </p:nvSpPr>
          <p:spPr bwMode="gray">
            <a:xfrm>
              <a:off x="1963" y="728"/>
              <a:ext cx="1830" cy="368"/>
            </a:xfrm>
            <a:prstGeom prst="chevron">
              <a:avLst>
                <a:gd name="adj" fmla="val 32554"/>
              </a:avLst>
            </a:prstGeom>
            <a:ln>
              <a:headEnd/>
              <a:tailEnd/>
            </a:ln>
          </p:spPr>
          <p:style>
            <a:lnRef idx="3">
              <a:schemeClr val="lt1"/>
            </a:lnRef>
            <a:fillRef idx="1">
              <a:schemeClr val="accent3"/>
            </a:fillRef>
            <a:effectRef idx="1">
              <a:schemeClr val="accent3"/>
            </a:effectRef>
            <a:fontRef idx="minor">
              <a:schemeClr val="lt1"/>
            </a:fontRef>
          </p:style>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3" name="AutoShape 10">
              <a:extLst>
                <a:ext uri="{FF2B5EF4-FFF2-40B4-BE49-F238E27FC236}">
                  <a16:creationId xmlns:a16="http://schemas.microsoft.com/office/drawing/2014/main" id="{9541C615-BEAE-4AB8-B85C-048371A7CD43}"/>
                </a:ext>
              </a:extLst>
            </p:cNvPr>
            <p:cNvSpPr>
              <a:spLocks noChangeArrowheads="1"/>
            </p:cNvSpPr>
            <p:nvPr/>
          </p:nvSpPr>
          <p:spPr bwMode="gray">
            <a:xfrm>
              <a:off x="3687" y="728"/>
              <a:ext cx="1823" cy="368"/>
            </a:xfrm>
            <a:prstGeom prst="chevron">
              <a:avLst>
                <a:gd name="adj" fmla="val 32406"/>
              </a:avLst>
            </a:prstGeom>
            <a:ln>
              <a:headEnd/>
              <a:tailEnd/>
            </a:ln>
          </p:spPr>
          <p:style>
            <a:lnRef idx="3">
              <a:schemeClr val="lt1"/>
            </a:lnRef>
            <a:fillRef idx="1">
              <a:schemeClr val="accent4"/>
            </a:fillRef>
            <a:effectRef idx="1">
              <a:schemeClr val="accent4"/>
            </a:effectRef>
            <a:fontRef idx="minor">
              <a:schemeClr val="lt1"/>
            </a:fontRef>
          </p:style>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grpSp>
        <p:nvGrpSpPr>
          <p:cNvPr id="14" name="Group 11">
            <a:extLst>
              <a:ext uri="{FF2B5EF4-FFF2-40B4-BE49-F238E27FC236}">
                <a16:creationId xmlns:a16="http://schemas.microsoft.com/office/drawing/2014/main" id="{023C9C18-6E18-4247-9F6C-0F93E48523A0}"/>
              </a:ext>
            </a:extLst>
          </p:cNvPr>
          <p:cNvGrpSpPr>
            <a:grpSpLocks/>
          </p:cNvGrpSpPr>
          <p:nvPr/>
        </p:nvGrpSpPr>
        <p:grpSpPr bwMode="auto">
          <a:xfrm>
            <a:off x="2240389" y="3977070"/>
            <a:ext cx="7712319" cy="584200"/>
            <a:chOff x="247" y="728"/>
            <a:chExt cx="5263" cy="368"/>
          </a:xfrm>
          <a:solidFill>
            <a:schemeClr val="accent1"/>
          </a:solidFill>
        </p:grpSpPr>
        <p:sp>
          <p:nvSpPr>
            <p:cNvPr id="15" name="AutoShape 12">
              <a:extLst>
                <a:ext uri="{FF2B5EF4-FFF2-40B4-BE49-F238E27FC236}">
                  <a16:creationId xmlns:a16="http://schemas.microsoft.com/office/drawing/2014/main" id="{787CB9F9-F959-47C7-A558-DE45DA4E9D6F}"/>
                </a:ext>
              </a:extLst>
            </p:cNvPr>
            <p:cNvSpPr>
              <a:spLocks noChangeArrowheads="1"/>
            </p:cNvSpPr>
            <p:nvPr/>
          </p:nvSpPr>
          <p:spPr bwMode="gray">
            <a:xfrm>
              <a:off x="247" y="728"/>
              <a:ext cx="1394" cy="368"/>
            </a:xfrm>
            <a:prstGeom prst="chevron">
              <a:avLst>
                <a:gd name="adj" fmla="val 32374"/>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6" name="AutoShape 13">
              <a:extLst>
                <a:ext uri="{FF2B5EF4-FFF2-40B4-BE49-F238E27FC236}">
                  <a16:creationId xmlns:a16="http://schemas.microsoft.com/office/drawing/2014/main" id="{424B8173-7EBC-469E-8421-A759D309E1DD}"/>
                </a:ext>
              </a:extLst>
            </p:cNvPr>
            <p:cNvSpPr>
              <a:spLocks noChangeArrowheads="1"/>
            </p:cNvSpPr>
            <p:nvPr/>
          </p:nvSpPr>
          <p:spPr bwMode="gray">
            <a:xfrm>
              <a:off x="1534" y="728"/>
              <a:ext cx="1394" cy="368"/>
            </a:xfrm>
            <a:prstGeom prst="chevron">
              <a:avLst>
                <a:gd name="adj" fmla="val 32374"/>
              </a:avLst>
            </a:prstGeom>
            <a:solidFill>
              <a:schemeClr val="bg1">
                <a:lumMod val="65000"/>
              </a:schemeClr>
            </a:solid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7" name="AutoShape 14">
              <a:extLst>
                <a:ext uri="{FF2B5EF4-FFF2-40B4-BE49-F238E27FC236}">
                  <a16:creationId xmlns:a16="http://schemas.microsoft.com/office/drawing/2014/main" id="{41596D35-401F-42C2-8D9F-907018A987D2}"/>
                </a:ext>
              </a:extLst>
            </p:cNvPr>
            <p:cNvSpPr>
              <a:spLocks noChangeArrowheads="1"/>
            </p:cNvSpPr>
            <p:nvPr/>
          </p:nvSpPr>
          <p:spPr bwMode="gray">
            <a:xfrm>
              <a:off x="2822" y="728"/>
              <a:ext cx="1394" cy="368"/>
            </a:xfrm>
            <a:prstGeom prst="chevron">
              <a:avLst>
                <a:gd name="adj" fmla="val 32374"/>
              </a:avLst>
            </a:prstGeom>
            <a:solidFill>
              <a:schemeClr val="bg2">
                <a:lumMod val="75000"/>
              </a:schemeClr>
            </a:solid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8" name="AutoShape 15">
              <a:extLst>
                <a:ext uri="{FF2B5EF4-FFF2-40B4-BE49-F238E27FC236}">
                  <a16:creationId xmlns:a16="http://schemas.microsoft.com/office/drawing/2014/main" id="{56DA78E4-C16F-4B49-AE08-C77FFBBDE67E}"/>
                </a:ext>
              </a:extLst>
            </p:cNvPr>
            <p:cNvSpPr>
              <a:spLocks noChangeArrowheads="1"/>
            </p:cNvSpPr>
            <p:nvPr/>
          </p:nvSpPr>
          <p:spPr bwMode="gray">
            <a:xfrm>
              <a:off x="4108" y="728"/>
              <a:ext cx="1402" cy="368"/>
            </a:xfrm>
            <a:prstGeom prst="chevron">
              <a:avLst>
                <a:gd name="adj" fmla="val 32560"/>
              </a:avLst>
            </a:prstGeom>
            <a:solidFill>
              <a:schemeClr val="bg2">
                <a:lumMod val="85000"/>
              </a:schemeClr>
            </a:solid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grpSp>
        <p:nvGrpSpPr>
          <p:cNvPr id="19" name="Group 16">
            <a:extLst>
              <a:ext uri="{FF2B5EF4-FFF2-40B4-BE49-F238E27FC236}">
                <a16:creationId xmlns:a16="http://schemas.microsoft.com/office/drawing/2014/main" id="{85A68DED-4AD4-4DCD-972A-4EDF23820611}"/>
              </a:ext>
            </a:extLst>
          </p:cNvPr>
          <p:cNvGrpSpPr>
            <a:grpSpLocks/>
          </p:cNvGrpSpPr>
          <p:nvPr/>
        </p:nvGrpSpPr>
        <p:grpSpPr bwMode="auto">
          <a:xfrm>
            <a:off x="2239779" y="4787314"/>
            <a:ext cx="7712319" cy="584200"/>
            <a:chOff x="247" y="728"/>
            <a:chExt cx="5263" cy="368"/>
          </a:xfrm>
          <a:solidFill>
            <a:schemeClr val="accent1"/>
          </a:solidFill>
        </p:grpSpPr>
        <p:sp>
          <p:nvSpPr>
            <p:cNvPr id="20" name="AutoShape 17">
              <a:extLst>
                <a:ext uri="{FF2B5EF4-FFF2-40B4-BE49-F238E27FC236}">
                  <a16:creationId xmlns:a16="http://schemas.microsoft.com/office/drawing/2014/main" id="{CA6D6681-FDC6-475E-9930-AB7B07FEDEFF}"/>
                </a:ext>
              </a:extLst>
            </p:cNvPr>
            <p:cNvSpPr>
              <a:spLocks noChangeArrowheads="1"/>
            </p:cNvSpPr>
            <p:nvPr/>
          </p:nvSpPr>
          <p:spPr bwMode="gray">
            <a:xfrm>
              <a:off x="247" y="728"/>
              <a:ext cx="1144" cy="368"/>
            </a:xfrm>
            <a:prstGeom prst="chevron">
              <a:avLst>
                <a:gd name="adj" fmla="val 32555"/>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1" name="AutoShape 18">
              <a:extLst>
                <a:ext uri="{FF2B5EF4-FFF2-40B4-BE49-F238E27FC236}">
                  <a16:creationId xmlns:a16="http://schemas.microsoft.com/office/drawing/2014/main" id="{9A5F4732-0CF1-4C3C-A8CB-2BF39A4AE6F1}"/>
                </a:ext>
              </a:extLst>
            </p:cNvPr>
            <p:cNvSpPr>
              <a:spLocks noChangeArrowheads="1"/>
            </p:cNvSpPr>
            <p:nvPr/>
          </p:nvSpPr>
          <p:spPr bwMode="gray">
            <a:xfrm>
              <a:off x="1284" y="728"/>
              <a:ext cx="1138" cy="368"/>
            </a:xfrm>
            <a:prstGeom prst="chevron">
              <a:avLst>
                <a:gd name="adj" fmla="val 32384"/>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2" name="AutoShape 19">
              <a:extLst>
                <a:ext uri="{FF2B5EF4-FFF2-40B4-BE49-F238E27FC236}">
                  <a16:creationId xmlns:a16="http://schemas.microsoft.com/office/drawing/2014/main" id="{277A40FB-9CEA-45A8-A323-A36DA47EB45D}"/>
                </a:ext>
              </a:extLst>
            </p:cNvPr>
            <p:cNvSpPr>
              <a:spLocks noChangeArrowheads="1"/>
            </p:cNvSpPr>
            <p:nvPr/>
          </p:nvSpPr>
          <p:spPr bwMode="gray">
            <a:xfrm>
              <a:off x="2314" y="728"/>
              <a:ext cx="1139" cy="368"/>
            </a:xfrm>
            <a:prstGeom prst="chevron">
              <a:avLst>
                <a:gd name="adj" fmla="val 32413"/>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3" name="AutoShape 20">
              <a:extLst>
                <a:ext uri="{FF2B5EF4-FFF2-40B4-BE49-F238E27FC236}">
                  <a16:creationId xmlns:a16="http://schemas.microsoft.com/office/drawing/2014/main" id="{DE9E5B33-C12D-4736-A63E-CC8FFD105FCC}"/>
                </a:ext>
              </a:extLst>
            </p:cNvPr>
            <p:cNvSpPr>
              <a:spLocks noChangeArrowheads="1"/>
            </p:cNvSpPr>
            <p:nvPr/>
          </p:nvSpPr>
          <p:spPr bwMode="gray">
            <a:xfrm>
              <a:off x="3345" y="728"/>
              <a:ext cx="1138" cy="368"/>
            </a:xfrm>
            <a:prstGeom prst="chevron">
              <a:avLst>
                <a:gd name="adj" fmla="val 32384"/>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4" name="AutoShape 21">
              <a:extLst>
                <a:ext uri="{FF2B5EF4-FFF2-40B4-BE49-F238E27FC236}">
                  <a16:creationId xmlns:a16="http://schemas.microsoft.com/office/drawing/2014/main" id="{8FA627CF-DF31-42CC-85A5-FF5D1A0DD5E3}"/>
                </a:ext>
              </a:extLst>
            </p:cNvPr>
            <p:cNvSpPr>
              <a:spLocks noChangeArrowheads="1"/>
            </p:cNvSpPr>
            <p:nvPr/>
          </p:nvSpPr>
          <p:spPr bwMode="gray">
            <a:xfrm>
              <a:off x="4375" y="728"/>
              <a:ext cx="1135" cy="368"/>
            </a:xfrm>
            <a:prstGeom prst="chevron">
              <a:avLst>
                <a:gd name="adj" fmla="val 32299"/>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grpSp>
        <p:nvGrpSpPr>
          <p:cNvPr id="25" name="Group 29">
            <a:extLst>
              <a:ext uri="{FF2B5EF4-FFF2-40B4-BE49-F238E27FC236}">
                <a16:creationId xmlns:a16="http://schemas.microsoft.com/office/drawing/2014/main" id="{B4402E03-D0A0-4C18-9C18-0149455EDDE5}"/>
              </a:ext>
            </a:extLst>
          </p:cNvPr>
          <p:cNvGrpSpPr>
            <a:grpSpLocks/>
          </p:cNvGrpSpPr>
          <p:nvPr/>
        </p:nvGrpSpPr>
        <p:grpSpPr bwMode="auto">
          <a:xfrm>
            <a:off x="2239779" y="5597558"/>
            <a:ext cx="7710854" cy="584200"/>
            <a:chOff x="1124" y="236"/>
            <a:chExt cx="4387" cy="368"/>
          </a:xfrm>
          <a:solidFill>
            <a:schemeClr val="accent1"/>
          </a:solidFill>
        </p:grpSpPr>
        <p:sp>
          <p:nvSpPr>
            <p:cNvPr id="26" name="AutoShape 30">
              <a:extLst>
                <a:ext uri="{FF2B5EF4-FFF2-40B4-BE49-F238E27FC236}">
                  <a16:creationId xmlns:a16="http://schemas.microsoft.com/office/drawing/2014/main" id="{FB6B2CD3-F39D-4C19-9539-106679FE3E85}"/>
                </a:ext>
              </a:extLst>
            </p:cNvPr>
            <p:cNvSpPr>
              <a:spLocks noChangeArrowheads="1"/>
            </p:cNvSpPr>
            <p:nvPr/>
          </p:nvSpPr>
          <p:spPr bwMode="gray">
            <a:xfrm>
              <a:off x="1124" y="236"/>
              <a:ext cx="725" cy="368"/>
            </a:xfrm>
            <a:prstGeom prst="chevron">
              <a:avLst>
                <a:gd name="adj" fmla="val 3260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7" name="AutoShape 31">
              <a:extLst>
                <a:ext uri="{FF2B5EF4-FFF2-40B4-BE49-F238E27FC236}">
                  <a16:creationId xmlns:a16="http://schemas.microsoft.com/office/drawing/2014/main" id="{7DCAABE9-7E88-4C05-ADD3-F4FAA4F3A726}"/>
                </a:ext>
              </a:extLst>
            </p:cNvPr>
            <p:cNvSpPr>
              <a:spLocks noChangeArrowheads="1"/>
            </p:cNvSpPr>
            <p:nvPr/>
          </p:nvSpPr>
          <p:spPr bwMode="gray">
            <a:xfrm>
              <a:off x="1740" y="236"/>
              <a:ext cx="720"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8" name="AutoShape 32">
              <a:extLst>
                <a:ext uri="{FF2B5EF4-FFF2-40B4-BE49-F238E27FC236}">
                  <a16:creationId xmlns:a16="http://schemas.microsoft.com/office/drawing/2014/main" id="{27320B9C-BF59-4947-B0FC-9D3662491560}"/>
                </a:ext>
              </a:extLst>
            </p:cNvPr>
            <p:cNvSpPr>
              <a:spLocks noChangeArrowheads="1"/>
            </p:cNvSpPr>
            <p:nvPr/>
          </p:nvSpPr>
          <p:spPr bwMode="gray">
            <a:xfrm>
              <a:off x="2351" y="236"/>
              <a:ext cx="719"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29" name="AutoShape 33">
              <a:extLst>
                <a:ext uri="{FF2B5EF4-FFF2-40B4-BE49-F238E27FC236}">
                  <a16:creationId xmlns:a16="http://schemas.microsoft.com/office/drawing/2014/main" id="{2A4165C1-35E0-4EEE-AA89-91C2A6867B5B}"/>
                </a:ext>
              </a:extLst>
            </p:cNvPr>
            <p:cNvSpPr>
              <a:spLocks noChangeArrowheads="1"/>
            </p:cNvSpPr>
            <p:nvPr/>
          </p:nvSpPr>
          <p:spPr bwMode="gray">
            <a:xfrm>
              <a:off x="2961" y="236"/>
              <a:ext cx="719"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0" name="AutoShape 34">
              <a:extLst>
                <a:ext uri="{FF2B5EF4-FFF2-40B4-BE49-F238E27FC236}">
                  <a16:creationId xmlns:a16="http://schemas.microsoft.com/office/drawing/2014/main" id="{02893A23-E103-4858-8CE9-403885A7306D}"/>
                </a:ext>
              </a:extLst>
            </p:cNvPr>
            <p:cNvSpPr>
              <a:spLocks noChangeArrowheads="1"/>
            </p:cNvSpPr>
            <p:nvPr/>
          </p:nvSpPr>
          <p:spPr bwMode="gray">
            <a:xfrm>
              <a:off x="3571" y="236"/>
              <a:ext cx="720"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1" name="AutoShape 35">
              <a:extLst>
                <a:ext uri="{FF2B5EF4-FFF2-40B4-BE49-F238E27FC236}">
                  <a16:creationId xmlns:a16="http://schemas.microsoft.com/office/drawing/2014/main" id="{2E427177-45A9-46B3-A2E4-8D4F82350B97}"/>
                </a:ext>
              </a:extLst>
            </p:cNvPr>
            <p:cNvSpPr>
              <a:spLocks noChangeArrowheads="1"/>
            </p:cNvSpPr>
            <p:nvPr/>
          </p:nvSpPr>
          <p:spPr bwMode="gray">
            <a:xfrm>
              <a:off x="4182" y="236"/>
              <a:ext cx="719"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2" name="AutoShape 36">
              <a:extLst>
                <a:ext uri="{FF2B5EF4-FFF2-40B4-BE49-F238E27FC236}">
                  <a16:creationId xmlns:a16="http://schemas.microsoft.com/office/drawing/2014/main" id="{2E5A525A-ABF8-4563-83A0-E9018D2C286E}"/>
                </a:ext>
              </a:extLst>
            </p:cNvPr>
            <p:cNvSpPr>
              <a:spLocks noChangeArrowheads="1"/>
            </p:cNvSpPr>
            <p:nvPr/>
          </p:nvSpPr>
          <p:spPr bwMode="gray">
            <a:xfrm>
              <a:off x="4792" y="236"/>
              <a:ext cx="719" cy="368"/>
            </a:xfrm>
            <a:prstGeom prst="chevron">
              <a:avLst>
                <a:gd name="adj" fmla="val 32337"/>
              </a:avLst>
            </a:prstGeom>
            <a:grpFill/>
            <a:ln w="12700" cap="rnd" algn="ctr">
              <a:solidFill>
                <a:srgbClr val="FFFFFF"/>
              </a:solidFill>
              <a:miter lim="800000"/>
              <a:headEnd/>
              <a:tailEnd/>
            </a:ln>
          </p:spPr>
          <p:txBody>
            <a:bodyPr wrap="square" lIns="36000" tIns="36000" rIns="36000" bIns="36000" anchor="ctr"/>
            <a:lstStyle/>
            <a:p>
              <a:pPr marL="0" marR="0" lvl="0" indent="0" algn="ctr" defTabSz="914446" eaLnBrk="1" fontAlgn="auto" latinLnBrk="0" hangingPunct="1">
                <a:lnSpc>
                  <a:spcPct val="110000"/>
                </a:lnSpc>
                <a:spcBef>
                  <a:spcPts val="0"/>
                </a:spcBef>
                <a:spcAft>
                  <a:spcPts val="0"/>
                </a:spcAft>
                <a:buClrTx/>
                <a:buSzTx/>
                <a:buFontTx/>
                <a:buNone/>
                <a:tabLst/>
                <a:defRPr/>
              </a:pPr>
              <a:r>
                <a:rPr lang="en-US" sz="1400" b="1" kern="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grpSp>
      <p:sp>
        <p:nvSpPr>
          <p:cNvPr id="37" name="Title 1">
            <a:extLst>
              <a:ext uri="{FF2B5EF4-FFF2-40B4-BE49-F238E27FC236}">
                <a16:creationId xmlns:a16="http://schemas.microsoft.com/office/drawing/2014/main" id="{E39934E6-CB1F-4EE9-AEE3-AFE1D6399445}"/>
              </a:ext>
            </a:extLst>
          </p:cNvPr>
          <p:cNvSpPr>
            <a:spLocks noGrp="1"/>
          </p:cNvSpPr>
          <p:nvPr>
            <p:ph type="title"/>
            <p:custDataLst>
              <p:tags r:id="rId1"/>
            </p:custDataLst>
          </p:nvPr>
        </p:nvSpPr>
        <p:spPr>
          <a:xfrm>
            <a:off x="493484" y="295683"/>
            <a:ext cx="9231541" cy="469492"/>
          </a:xfrm>
        </p:spPr>
        <p:txBody>
          <a:bodyPr/>
          <a:lstStyle/>
          <a:p>
            <a:pPr>
              <a:lnSpc>
                <a:spcPct val="100000"/>
              </a:lnSpc>
            </a:pPr>
            <a:r>
              <a:rPr lang="en-US" dirty="0">
                <a:latin typeface="Century"/>
              </a:rPr>
              <a:t>Arrows </a:t>
            </a:r>
            <a:br>
              <a:rPr lang="en-US" dirty="0"/>
            </a:br>
            <a:endParaRPr lang="en-US" dirty="0">
              <a:latin typeface="Century"/>
            </a:endParaRPr>
          </a:p>
        </p:txBody>
      </p:sp>
    </p:spTree>
    <p:extLst>
      <p:ext uri="{BB962C8B-B14F-4D97-AF65-F5344CB8AC3E}">
        <p14:creationId xmlns:p14="http://schemas.microsoft.com/office/powerpoint/2010/main" val="86182725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21715502"/>
              </p:ext>
            </p:ext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6513" name="Title 1"/>
          <p:cNvSpPr>
            <a:spLocks noGrp="1"/>
          </p:cNvSpPr>
          <p:nvPr>
            <p:ph type="title"/>
            <p:custDataLst>
              <p:tags r:id="rId2"/>
            </p:custDataLst>
          </p:nvPr>
        </p:nvSpPr>
        <p:spPr/>
        <p:txBody>
          <a:bodyPr/>
          <a:lstStyle/>
          <a:p>
            <a:pPr>
              <a:lnSpc>
                <a:spcPct val="100000"/>
              </a:lnSpc>
            </a:pPr>
            <a:r>
              <a:rPr lang="en-US" dirty="0">
                <a:latin typeface="Century"/>
              </a:rPr>
              <a:t>Two text boxes </a:t>
            </a:r>
            <a:br>
              <a:rPr lang="en-US" dirty="0"/>
            </a:br>
            <a:endParaRPr lang="en-US" dirty="0">
              <a:latin typeface="Century"/>
            </a:endParaRPr>
          </a:p>
        </p:txBody>
      </p:sp>
      <p:sp>
        <p:nvSpPr>
          <p:cNvPr id="3" name="Foliennummernplatzhalter 2">
            <a:extLst>
              <a:ext uri="{FF2B5EF4-FFF2-40B4-BE49-F238E27FC236}">
                <a16:creationId xmlns:a16="http://schemas.microsoft.com/office/drawing/2014/main" id="{7465FC7F-2157-45C9-AC29-B3E18C27F3D1}"/>
              </a:ext>
            </a:extLst>
          </p:cNvPr>
          <p:cNvSpPr>
            <a:spLocks noGrp="1"/>
          </p:cNvSpPr>
          <p:nvPr>
            <p:ph type="sldNum" sz="quarter" idx="16"/>
          </p:nvPr>
        </p:nvSpPr>
        <p:spPr/>
        <p:txBody>
          <a:bodyPr/>
          <a:lstStyle/>
          <a:p>
            <a:fld id="{95CC1D26-A9BD-4BDE-BDD9-08EDBAE96860}" type="slidenum">
              <a:rPr lang="en-GB" smtClean="0"/>
              <a:pPr/>
              <a:t>21</a:t>
            </a:fld>
            <a:endParaRPr lang="en-GB" dirty="0"/>
          </a:p>
        </p:txBody>
      </p:sp>
      <p:grpSp>
        <p:nvGrpSpPr>
          <p:cNvPr id="4" name="Group 3"/>
          <p:cNvGrpSpPr/>
          <p:nvPr/>
        </p:nvGrpSpPr>
        <p:grpSpPr>
          <a:xfrm>
            <a:off x="1773966" y="1534246"/>
            <a:ext cx="4117446" cy="4370383"/>
            <a:chOff x="393698" y="1376360"/>
            <a:chExt cx="3997326" cy="4932365"/>
          </a:xfrm>
        </p:grpSpPr>
        <p:sp>
          <p:nvSpPr>
            <p:cNvPr id="14" name="Text Box 10"/>
            <p:cNvSpPr txBox="1">
              <a:spLocks noChangeArrowheads="1"/>
            </p:cNvSpPr>
            <p:nvPr>
              <p:custDataLst>
                <p:tags r:id="rId4"/>
              </p:custDataLst>
            </p:nvPr>
          </p:nvSpPr>
          <p:spPr bwMode="auto">
            <a:xfrm>
              <a:off x="393699" y="1376360"/>
              <a:ext cx="3997325" cy="443561"/>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400" b="1" dirty="0">
                  <a:latin typeface="Microsoft Sans Serif"/>
                  <a:ea typeface="Microsoft Sans Serif"/>
                  <a:cs typeface="Microsoft Sans Serif"/>
                </a:rPr>
                <a:t>Text</a:t>
              </a:r>
            </a:p>
          </p:txBody>
        </p:sp>
        <p:sp>
          <p:nvSpPr>
            <p:cNvPr id="22" name="Text Placeholder 5"/>
            <p:cNvSpPr txBox="1">
              <a:spLocks/>
            </p:cNvSpPr>
            <p:nvPr/>
          </p:nvSpPr>
          <p:spPr>
            <a:xfrm>
              <a:off x="393698" y="1819921"/>
              <a:ext cx="3997325" cy="4488804"/>
            </a:xfrm>
            <a:prstGeom prst="rect">
              <a:avLst/>
            </a:prstGeom>
            <a:solidFill>
              <a:srgbClr val="F9FAFB"/>
            </a:solidFill>
            <a:ln w="12700">
              <a:noFill/>
            </a:ln>
          </p:spPr>
          <p:txBody>
            <a:bodyPr wrap="square" lIns="109728" tIns="146304" rIns="109728" bIns="45720" anchor="t"/>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355" lvl="1" indent="-173355">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355" lvl="1" indent="-173355">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grpSp>
        <p:nvGrpSpPr>
          <p:cNvPr id="23" name="Group 22"/>
          <p:cNvGrpSpPr/>
          <p:nvPr/>
        </p:nvGrpSpPr>
        <p:grpSpPr>
          <a:xfrm>
            <a:off x="6298142" y="1534246"/>
            <a:ext cx="4117446" cy="4370383"/>
            <a:chOff x="393698" y="1376360"/>
            <a:chExt cx="3997326" cy="4932365"/>
          </a:xfrm>
        </p:grpSpPr>
        <p:sp>
          <p:nvSpPr>
            <p:cNvPr id="24" name="Text Box 10"/>
            <p:cNvSpPr txBox="1">
              <a:spLocks noChangeArrowheads="1"/>
            </p:cNvSpPr>
            <p:nvPr>
              <p:custDataLst>
                <p:tags r:id="rId3"/>
              </p:custDataLst>
            </p:nvPr>
          </p:nvSpPr>
          <p:spPr bwMode="auto">
            <a:xfrm>
              <a:off x="393699" y="1376360"/>
              <a:ext cx="3997325" cy="443561"/>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400" b="1" dirty="0">
                  <a:latin typeface="Microsoft Sans Serif"/>
                  <a:ea typeface="Microsoft Sans Serif"/>
                  <a:cs typeface="Microsoft Sans Serif"/>
                </a:rPr>
                <a:t>Text</a:t>
              </a:r>
            </a:p>
          </p:txBody>
        </p:sp>
        <p:sp>
          <p:nvSpPr>
            <p:cNvPr id="25" name="Text Placeholder 5"/>
            <p:cNvSpPr txBox="1">
              <a:spLocks/>
            </p:cNvSpPr>
            <p:nvPr/>
          </p:nvSpPr>
          <p:spPr>
            <a:xfrm>
              <a:off x="393698" y="1819921"/>
              <a:ext cx="3997325" cy="4488804"/>
            </a:xfrm>
            <a:prstGeom prst="rect">
              <a:avLst/>
            </a:prstGeom>
            <a:solidFill>
              <a:srgbClr val="F9FAFB"/>
            </a:solidFill>
            <a:ln w="12700">
              <a:noFill/>
            </a:ln>
          </p:spPr>
          <p:txBody>
            <a:bodyPr wrap="square" lIns="109728" tIns="146304" rIns="109728" bIns="45720" anchor="t"/>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355" lvl="1" indent="-173355">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355" lvl="1" indent="-173355">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marL="359410" lvl="2" indent="-179705">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spTree>
    <p:extLst>
      <p:ext uri="{BB962C8B-B14F-4D97-AF65-F5344CB8AC3E}">
        <p14:creationId xmlns:p14="http://schemas.microsoft.com/office/powerpoint/2010/main" val="225821890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9585" name="Title 1"/>
          <p:cNvSpPr>
            <a:spLocks noGrp="1"/>
          </p:cNvSpPr>
          <p:nvPr>
            <p:ph type="title"/>
          </p:nvPr>
        </p:nvSpPr>
        <p:spPr/>
        <p:txBody>
          <a:bodyPr/>
          <a:lstStyle/>
          <a:p>
            <a:pPr>
              <a:lnSpc>
                <a:spcPct val="100000"/>
              </a:lnSpc>
            </a:pPr>
            <a:r>
              <a:rPr lang="en-US" dirty="0">
                <a:latin typeface="Century"/>
              </a:rPr>
              <a:t>Four text boxes</a:t>
            </a:r>
          </a:p>
        </p:txBody>
      </p:sp>
      <p:sp>
        <p:nvSpPr>
          <p:cNvPr id="2" name="Foliennummernplatzhalter 1">
            <a:extLst>
              <a:ext uri="{FF2B5EF4-FFF2-40B4-BE49-F238E27FC236}">
                <a16:creationId xmlns:a16="http://schemas.microsoft.com/office/drawing/2014/main" id="{228D6322-9528-40FD-9D74-0DBDB151A770}"/>
              </a:ext>
            </a:extLst>
          </p:cNvPr>
          <p:cNvSpPr>
            <a:spLocks noGrp="1"/>
          </p:cNvSpPr>
          <p:nvPr>
            <p:ph type="sldNum" sz="quarter" idx="16"/>
          </p:nvPr>
        </p:nvSpPr>
        <p:spPr/>
        <p:txBody>
          <a:bodyPr/>
          <a:lstStyle/>
          <a:p>
            <a:fld id="{95CC1D26-A9BD-4BDE-BDD9-08EDBAE96860}" type="slidenum">
              <a:rPr lang="en-GB" smtClean="0"/>
              <a:pPr/>
              <a:t>22</a:t>
            </a:fld>
            <a:endParaRPr lang="en-GB" dirty="0"/>
          </a:p>
        </p:txBody>
      </p:sp>
      <p:grpSp>
        <p:nvGrpSpPr>
          <p:cNvPr id="18" name="Group 17"/>
          <p:cNvGrpSpPr/>
          <p:nvPr/>
        </p:nvGrpSpPr>
        <p:grpSpPr>
          <a:xfrm>
            <a:off x="1917699" y="1473926"/>
            <a:ext cx="3997326" cy="2194560"/>
            <a:chOff x="393698" y="1376361"/>
            <a:chExt cx="3997326" cy="2373680"/>
          </a:xfrm>
        </p:grpSpPr>
        <p:sp>
          <p:nvSpPr>
            <p:cNvPr id="21" name="Text Box 10"/>
            <p:cNvSpPr txBox="1">
              <a:spLocks noChangeArrowheads="1"/>
            </p:cNvSpPr>
            <p:nvPr>
              <p:custDataLst>
                <p:tags r:id="rId4"/>
              </p:custDataLst>
            </p:nvPr>
          </p:nvSpPr>
          <p:spPr bwMode="auto">
            <a:xfrm>
              <a:off x="393699" y="1376361"/>
              <a:ext cx="3997325" cy="249678"/>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200" b="1" dirty="0">
                  <a:latin typeface="Microsoft Sans Serif"/>
                  <a:ea typeface="Microsoft Sans Serif"/>
                  <a:cs typeface="Microsoft Sans Serif"/>
                </a:rPr>
                <a:t>Text</a:t>
              </a:r>
            </a:p>
          </p:txBody>
        </p:sp>
        <p:sp>
          <p:nvSpPr>
            <p:cNvPr id="26" name="Text Placeholder 5"/>
            <p:cNvSpPr txBox="1">
              <a:spLocks/>
            </p:cNvSpPr>
            <p:nvPr/>
          </p:nvSpPr>
          <p:spPr>
            <a:xfrm>
              <a:off x="393698" y="1626041"/>
              <a:ext cx="3997325" cy="2124000"/>
            </a:xfrm>
            <a:prstGeom prst="rect">
              <a:avLst/>
            </a:prstGeom>
            <a:solidFill>
              <a:srgbClr val="F9FAFB"/>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grpSp>
        <p:nvGrpSpPr>
          <p:cNvPr id="33" name="Group 32"/>
          <p:cNvGrpSpPr/>
          <p:nvPr/>
        </p:nvGrpSpPr>
        <p:grpSpPr>
          <a:xfrm>
            <a:off x="6275388" y="1473926"/>
            <a:ext cx="3997326" cy="2194560"/>
            <a:chOff x="393698" y="1376361"/>
            <a:chExt cx="3997326" cy="2373680"/>
          </a:xfrm>
        </p:grpSpPr>
        <p:sp>
          <p:nvSpPr>
            <p:cNvPr id="34" name="Text Box 10"/>
            <p:cNvSpPr txBox="1">
              <a:spLocks noChangeArrowheads="1"/>
            </p:cNvSpPr>
            <p:nvPr>
              <p:custDataLst>
                <p:tags r:id="rId3"/>
              </p:custDataLst>
            </p:nvPr>
          </p:nvSpPr>
          <p:spPr bwMode="auto">
            <a:xfrm>
              <a:off x="393699" y="1376361"/>
              <a:ext cx="3997325" cy="249678"/>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200" b="1" dirty="0">
                  <a:latin typeface="Microsoft Sans Serif"/>
                  <a:ea typeface="Microsoft Sans Serif"/>
                  <a:cs typeface="Microsoft Sans Serif"/>
                </a:rPr>
                <a:t>Text</a:t>
              </a:r>
            </a:p>
          </p:txBody>
        </p:sp>
        <p:sp>
          <p:nvSpPr>
            <p:cNvPr id="35" name="Text Placeholder 5"/>
            <p:cNvSpPr txBox="1">
              <a:spLocks/>
            </p:cNvSpPr>
            <p:nvPr/>
          </p:nvSpPr>
          <p:spPr>
            <a:xfrm>
              <a:off x="393698" y="1626041"/>
              <a:ext cx="3997325" cy="2124000"/>
            </a:xfrm>
            <a:prstGeom prst="rect">
              <a:avLst/>
            </a:prstGeom>
            <a:solidFill>
              <a:srgbClr val="F9FAFB"/>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grpSp>
        <p:nvGrpSpPr>
          <p:cNvPr id="36" name="Group 35"/>
          <p:cNvGrpSpPr/>
          <p:nvPr/>
        </p:nvGrpSpPr>
        <p:grpSpPr>
          <a:xfrm>
            <a:off x="1917699" y="3986314"/>
            <a:ext cx="3997326" cy="2194560"/>
            <a:chOff x="393698" y="1376361"/>
            <a:chExt cx="3997326" cy="2373680"/>
          </a:xfrm>
        </p:grpSpPr>
        <p:sp>
          <p:nvSpPr>
            <p:cNvPr id="37" name="Text Box 10"/>
            <p:cNvSpPr txBox="1">
              <a:spLocks noChangeArrowheads="1"/>
            </p:cNvSpPr>
            <p:nvPr>
              <p:custDataLst>
                <p:tags r:id="rId2"/>
              </p:custDataLst>
            </p:nvPr>
          </p:nvSpPr>
          <p:spPr bwMode="auto">
            <a:xfrm>
              <a:off x="393699" y="1376361"/>
              <a:ext cx="3997325" cy="249678"/>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200" b="1" dirty="0">
                  <a:latin typeface="Microsoft Sans Serif"/>
                  <a:ea typeface="Microsoft Sans Serif"/>
                  <a:cs typeface="Microsoft Sans Serif"/>
                </a:rPr>
                <a:t>Text</a:t>
              </a:r>
            </a:p>
          </p:txBody>
        </p:sp>
        <p:sp>
          <p:nvSpPr>
            <p:cNvPr id="44" name="Text Placeholder 5"/>
            <p:cNvSpPr txBox="1">
              <a:spLocks/>
            </p:cNvSpPr>
            <p:nvPr/>
          </p:nvSpPr>
          <p:spPr>
            <a:xfrm>
              <a:off x="393698" y="1626041"/>
              <a:ext cx="3997325" cy="2124000"/>
            </a:xfrm>
            <a:prstGeom prst="rect">
              <a:avLst/>
            </a:prstGeom>
            <a:solidFill>
              <a:srgbClr val="F9FAFB"/>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grpSp>
        <p:nvGrpSpPr>
          <p:cNvPr id="45" name="Group 44"/>
          <p:cNvGrpSpPr/>
          <p:nvPr/>
        </p:nvGrpSpPr>
        <p:grpSpPr>
          <a:xfrm>
            <a:off x="6275387" y="3986314"/>
            <a:ext cx="3997326" cy="2194560"/>
            <a:chOff x="393698" y="1376361"/>
            <a:chExt cx="3997326" cy="2373680"/>
          </a:xfrm>
        </p:grpSpPr>
        <p:sp>
          <p:nvSpPr>
            <p:cNvPr id="46" name="Text Box 10"/>
            <p:cNvSpPr txBox="1">
              <a:spLocks noChangeArrowheads="1"/>
            </p:cNvSpPr>
            <p:nvPr>
              <p:custDataLst>
                <p:tags r:id="rId1"/>
              </p:custDataLst>
            </p:nvPr>
          </p:nvSpPr>
          <p:spPr bwMode="auto">
            <a:xfrm>
              <a:off x="393699" y="1376361"/>
              <a:ext cx="3997325" cy="249678"/>
            </a:xfrm>
            <a:prstGeom prst="rect">
              <a:avLst/>
            </a:prstGeom>
            <a:solidFill>
              <a:srgbClr val="8FFAA1"/>
            </a:solidFill>
            <a:ln w="12700" algn="ctr">
              <a:noFill/>
              <a:miter lim="800000"/>
              <a:headEnd/>
              <a:tailEnd type="none" w="sm" len="med"/>
            </a:ln>
          </p:spPr>
          <p:txBody>
            <a:bodyPr lIns="36000" tIns="36000" rIns="36000" bIns="36000" anchor="ctr" anchorCtr="1"/>
            <a:lstStyle/>
            <a:p>
              <a:pPr algn="ctr" defTabSz="957263"/>
              <a:r>
                <a:rPr lang="en-US" sz="1200" b="1" dirty="0">
                  <a:latin typeface="Microsoft Sans Serif"/>
                  <a:ea typeface="Microsoft Sans Serif"/>
                  <a:cs typeface="Microsoft Sans Serif"/>
                </a:rPr>
                <a:t>Text</a:t>
              </a:r>
            </a:p>
          </p:txBody>
        </p:sp>
        <p:sp>
          <p:nvSpPr>
            <p:cNvPr id="47" name="Text Placeholder 5"/>
            <p:cNvSpPr txBox="1">
              <a:spLocks/>
            </p:cNvSpPr>
            <p:nvPr/>
          </p:nvSpPr>
          <p:spPr>
            <a:xfrm>
              <a:off x="393698" y="1626041"/>
              <a:ext cx="3997325" cy="2124000"/>
            </a:xfrm>
            <a:prstGeom prst="rect">
              <a:avLst/>
            </a:prstGeom>
            <a:solidFill>
              <a:srgbClr val="F9FAFB"/>
            </a:solidFill>
            <a:ln w="12700">
              <a:noFill/>
            </a:ln>
          </p:spPr>
          <p:txBody>
            <a:bodyPr wrap="square" lIns="91440" tIns="91440" rIns="91440" bIns="9144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marL="173736" lvl="1" indent="-173736">
                <a:spcBef>
                  <a:spcPts val="0"/>
                </a:spcBef>
                <a:spcAft>
                  <a:spcPts val="600"/>
                </a:spcAft>
              </a:pPr>
              <a:r>
                <a:rPr lang="en-US" sz="1200" dirty="0">
                  <a:solidFill>
                    <a:schemeClr val="tx1"/>
                  </a:solidFill>
                  <a:latin typeface="Microsoft Sans Serif"/>
                  <a:ea typeface="Microsoft Sans Serif"/>
                  <a:cs typeface="Microsoft Sans Serif"/>
                </a:rPr>
                <a:t>This is dummy text it is not here to be read 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a:p>
              <a:pPr lvl="2">
                <a:spcBef>
                  <a:spcPts val="0"/>
                </a:spcBef>
                <a:spcAft>
                  <a:spcPts val="600"/>
                </a:spcAft>
              </a:pPr>
              <a:r>
                <a:rPr lang="en-US" dirty="0">
                  <a:solidFill>
                    <a:schemeClr val="tx1"/>
                  </a:solidFill>
                  <a:latin typeface="Microsoft Sans Serif"/>
                  <a:ea typeface="Microsoft Sans Serif"/>
                  <a:cs typeface="Microsoft Sans Serif"/>
                </a:rPr>
                <a:t>This is dummy text it is not here to be read</a:t>
              </a:r>
            </a:p>
          </p:txBody>
        </p:sp>
      </p:grpSp>
    </p:spTree>
    <p:extLst>
      <p:ext uri="{BB962C8B-B14F-4D97-AF65-F5344CB8AC3E}">
        <p14:creationId xmlns:p14="http://schemas.microsoft.com/office/powerpoint/2010/main" val="376437154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5" name="Title 1"/>
          <p:cNvSpPr>
            <a:spLocks noGrp="1"/>
          </p:cNvSpPr>
          <p:nvPr>
            <p:ph type="title"/>
          </p:nvPr>
        </p:nvSpPr>
        <p:spPr>
          <a:noFill/>
        </p:spPr>
        <p:txBody>
          <a:bodyPr/>
          <a:lstStyle/>
          <a:p>
            <a:r>
              <a:rPr lang="en-US" dirty="0"/>
              <a:t>Driver trees</a:t>
            </a:r>
          </a:p>
        </p:txBody>
      </p:sp>
      <p:sp>
        <p:nvSpPr>
          <p:cNvPr id="2" name="Foliennummernplatzhalter 1">
            <a:extLst>
              <a:ext uri="{FF2B5EF4-FFF2-40B4-BE49-F238E27FC236}">
                <a16:creationId xmlns:a16="http://schemas.microsoft.com/office/drawing/2014/main" id="{77069FE0-EB98-436D-992F-8120D20FF427}"/>
              </a:ext>
            </a:extLst>
          </p:cNvPr>
          <p:cNvSpPr>
            <a:spLocks noGrp="1"/>
          </p:cNvSpPr>
          <p:nvPr>
            <p:ph type="sldNum" sz="quarter" idx="16"/>
          </p:nvPr>
        </p:nvSpPr>
        <p:spPr/>
        <p:txBody>
          <a:bodyPr/>
          <a:lstStyle/>
          <a:p>
            <a:fld id="{95CC1D26-A9BD-4BDE-BDD9-08EDBAE96860}" type="slidenum">
              <a:rPr lang="en-GB" smtClean="0"/>
              <a:pPr/>
              <a:t>23</a:t>
            </a:fld>
            <a:endParaRPr lang="en-GB" dirty="0"/>
          </a:p>
        </p:txBody>
      </p:sp>
      <p:cxnSp>
        <p:nvCxnSpPr>
          <p:cNvPr id="18" name="AutoShape 12"/>
          <p:cNvCxnSpPr>
            <a:cxnSpLocks noChangeShapeType="1"/>
            <a:stCxn id="9" idx="3"/>
            <a:endCxn id="10" idx="1"/>
          </p:cNvCxnSpPr>
          <p:nvPr/>
        </p:nvCxnSpPr>
        <p:spPr bwMode="auto">
          <a:xfrm flipV="1">
            <a:off x="2630487" y="2455228"/>
            <a:ext cx="615950" cy="1147763"/>
          </a:xfrm>
          <a:prstGeom prst="bentConnector3">
            <a:avLst>
              <a:gd name="adj1" fmla="val 50000"/>
            </a:avLst>
          </a:prstGeom>
          <a:noFill/>
          <a:ln w="12700">
            <a:solidFill>
              <a:schemeClr val="tx1"/>
            </a:solidFill>
            <a:miter lim="800000"/>
            <a:headEnd/>
            <a:tailEnd/>
          </a:ln>
        </p:spPr>
      </p:cxnSp>
      <p:cxnSp>
        <p:nvCxnSpPr>
          <p:cNvPr id="19" name="AutoShape 13"/>
          <p:cNvCxnSpPr>
            <a:cxnSpLocks noChangeShapeType="1"/>
            <a:stCxn id="9" idx="3"/>
            <a:endCxn id="11" idx="1"/>
          </p:cNvCxnSpPr>
          <p:nvPr/>
        </p:nvCxnSpPr>
        <p:spPr bwMode="auto">
          <a:xfrm>
            <a:off x="2630487" y="3602990"/>
            <a:ext cx="615950" cy="1147762"/>
          </a:xfrm>
          <a:prstGeom prst="bentConnector3">
            <a:avLst>
              <a:gd name="adj1" fmla="val 50000"/>
            </a:avLst>
          </a:prstGeom>
          <a:noFill/>
          <a:ln w="12700">
            <a:solidFill>
              <a:schemeClr val="tx1"/>
            </a:solidFill>
            <a:miter lim="800000"/>
            <a:headEnd/>
            <a:tailEnd/>
          </a:ln>
        </p:spPr>
      </p:cxnSp>
      <p:cxnSp>
        <p:nvCxnSpPr>
          <p:cNvPr id="20" name="AutoShape 14"/>
          <p:cNvCxnSpPr>
            <a:cxnSpLocks noChangeShapeType="1"/>
            <a:stCxn id="10" idx="3"/>
            <a:endCxn id="12" idx="1"/>
          </p:cNvCxnSpPr>
          <p:nvPr/>
        </p:nvCxnSpPr>
        <p:spPr bwMode="auto">
          <a:xfrm flipV="1">
            <a:off x="4643438" y="1691641"/>
            <a:ext cx="614363" cy="763587"/>
          </a:xfrm>
          <a:prstGeom prst="bentConnector3">
            <a:avLst>
              <a:gd name="adj1" fmla="val 50000"/>
            </a:avLst>
          </a:prstGeom>
          <a:noFill/>
          <a:ln w="12700">
            <a:solidFill>
              <a:schemeClr val="tx1"/>
            </a:solidFill>
            <a:miter lim="800000"/>
            <a:headEnd/>
            <a:tailEnd/>
          </a:ln>
        </p:spPr>
      </p:cxnSp>
      <p:cxnSp>
        <p:nvCxnSpPr>
          <p:cNvPr id="21" name="AutoShape 15"/>
          <p:cNvCxnSpPr>
            <a:cxnSpLocks noChangeShapeType="1"/>
            <a:stCxn id="10" idx="3"/>
            <a:endCxn id="13" idx="1"/>
          </p:cNvCxnSpPr>
          <p:nvPr/>
        </p:nvCxnSpPr>
        <p:spPr bwMode="auto">
          <a:xfrm>
            <a:off x="4643438" y="2455227"/>
            <a:ext cx="614363" cy="1588"/>
          </a:xfrm>
          <a:prstGeom prst="straightConnector1">
            <a:avLst/>
          </a:prstGeom>
          <a:noFill/>
          <a:ln w="12700">
            <a:solidFill>
              <a:schemeClr val="tx1"/>
            </a:solidFill>
            <a:round/>
            <a:headEnd/>
            <a:tailEnd/>
          </a:ln>
        </p:spPr>
      </p:cxnSp>
      <p:cxnSp>
        <p:nvCxnSpPr>
          <p:cNvPr id="22" name="AutoShape 16"/>
          <p:cNvCxnSpPr>
            <a:cxnSpLocks noChangeShapeType="1"/>
            <a:stCxn id="10" idx="3"/>
            <a:endCxn id="14" idx="1"/>
          </p:cNvCxnSpPr>
          <p:nvPr/>
        </p:nvCxnSpPr>
        <p:spPr bwMode="auto">
          <a:xfrm>
            <a:off x="4643438" y="2455228"/>
            <a:ext cx="614363" cy="765175"/>
          </a:xfrm>
          <a:prstGeom prst="bentConnector3">
            <a:avLst>
              <a:gd name="adj1" fmla="val 50000"/>
            </a:avLst>
          </a:prstGeom>
          <a:noFill/>
          <a:ln w="12700">
            <a:solidFill>
              <a:schemeClr val="tx1"/>
            </a:solidFill>
            <a:miter lim="800000"/>
            <a:headEnd/>
            <a:tailEnd/>
          </a:ln>
        </p:spPr>
      </p:cxnSp>
      <p:cxnSp>
        <p:nvCxnSpPr>
          <p:cNvPr id="23" name="AutoShape 17"/>
          <p:cNvCxnSpPr>
            <a:cxnSpLocks noChangeShapeType="1"/>
            <a:stCxn id="11" idx="3"/>
            <a:endCxn id="15" idx="1"/>
          </p:cNvCxnSpPr>
          <p:nvPr/>
        </p:nvCxnSpPr>
        <p:spPr bwMode="auto">
          <a:xfrm flipV="1">
            <a:off x="4643438" y="3985578"/>
            <a:ext cx="614363" cy="765175"/>
          </a:xfrm>
          <a:prstGeom prst="bentConnector3">
            <a:avLst>
              <a:gd name="adj1" fmla="val 50000"/>
            </a:avLst>
          </a:prstGeom>
          <a:noFill/>
          <a:ln w="12700">
            <a:solidFill>
              <a:schemeClr val="tx1"/>
            </a:solidFill>
            <a:miter lim="800000"/>
            <a:headEnd/>
            <a:tailEnd/>
          </a:ln>
        </p:spPr>
      </p:cxnSp>
      <p:cxnSp>
        <p:nvCxnSpPr>
          <p:cNvPr id="24" name="AutoShape 18"/>
          <p:cNvCxnSpPr>
            <a:cxnSpLocks noChangeShapeType="1"/>
            <a:stCxn id="11" idx="3"/>
            <a:endCxn id="16" idx="1"/>
          </p:cNvCxnSpPr>
          <p:nvPr/>
        </p:nvCxnSpPr>
        <p:spPr bwMode="auto">
          <a:xfrm>
            <a:off x="4643438" y="4750752"/>
            <a:ext cx="614363" cy="1588"/>
          </a:xfrm>
          <a:prstGeom prst="straightConnector1">
            <a:avLst/>
          </a:prstGeom>
          <a:noFill/>
          <a:ln w="12700">
            <a:solidFill>
              <a:schemeClr val="tx1"/>
            </a:solidFill>
            <a:round/>
            <a:headEnd/>
            <a:tailEnd/>
          </a:ln>
        </p:spPr>
      </p:cxnSp>
      <p:cxnSp>
        <p:nvCxnSpPr>
          <p:cNvPr id="25" name="AutoShape 19"/>
          <p:cNvCxnSpPr>
            <a:cxnSpLocks noChangeShapeType="1"/>
            <a:stCxn id="11" idx="3"/>
            <a:endCxn id="17" idx="1"/>
          </p:cNvCxnSpPr>
          <p:nvPr/>
        </p:nvCxnSpPr>
        <p:spPr bwMode="auto">
          <a:xfrm>
            <a:off x="4643438" y="4750753"/>
            <a:ext cx="614363" cy="765175"/>
          </a:xfrm>
          <a:prstGeom prst="bentConnector3">
            <a:avLst>
              <a:gd name="adj1" fmla="val 50000"/>
            </a:avLst>
          </a:prstGeom>
          <a:noFill/>
          <a:ln w="12700">
            <a:solidFill>
              <a:schemeClr val="tx1"/>
            </a:solidFill>
            <a:miter lim="800000"/>
            <a:headEnd/>
            <a:tailEnd/>
          </a:ln>
        </p:spPr>
      </p:cxnSp>
      <p:sp>
        <p:nvSpPr>
          <p:cNvPr id="9" name="Rectangle 3"/>
          <p:cNvSpPr>
            <a:spLocks noChangeArrowheads="1"/>
          </p:cNvSpPr>
          <p:nvPr/>
        </p:nvSpPr>
        <p:spPr bwMode="auto">
          <a:xfrm>
            <a:off x="1236663" y="3310890"/>
            <a:ext cx="1393825" cy="584200"/>
          </a:xfrm>
          <a:prstGeom prst="rect">
            <a:avLst/>
          </a:prstGeom>
          <a:solidFill>
            <a:srgbClr val="8FFAA1"/>
          </a:solidFill>
          <a:ln w="12700" algn="ctr">
            <a:noFill/>
            <a:miter lim="800000"/>
            <a:headEnd/>
            <a:tailEnd/>
          </a:ln>
        </p:spPr>
        <p:txBody>
          <a:bodyPr lIns="36000" tIns="36000" rIns="36000" bIns="36000" anchor="ctr"/>
          <a:lstStyle/>
          <a:p>
            <a:pPr marL="12700" indent="-12700" algn="ctr">
              <a:lnSpc>
                <a:spcPct val="110000"/>
              </a:lnSpc>
              <a:defRPr/>
            </a:pPr>
            <a:r>
              <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0" name="Rectangle 4"/>
          <p:cNvSpPr>
            <a:spLocks noChangeArrowheads="1"/>
          </p:cNvSpPr>
          <p:nvPr/>
        </p:nvSpPr>
        <p:spPr bwMode="auto">
          <a:xfrm>
            <a:off x="3246437" y="2163127"/>
            <a:ext cx="1397000"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1" name="Rectangle 5"/>
          <p:cNvSpPr>
            <a:spLocks noChangeArrowheads="1"/>
          </p:cNvSpPr>
          <p:nvPr/>
        </p:nvSpPr>
        <p:spPr bwMode="auto">
          <a:xfrm>
            <a:off x="3246437" y="4458652"/>
            <a:ext cx="1397000"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2" name="Rectangle 6"/>
          <p:cNvSpPr>
            <a:spLocks noChangeArrowheads="1"/>
          </p:cNvSpPr>
          <p:nvPr/>
        </p:nvSpPr>
        <p:spPr bwMode="auto">
          <a:xfrm>
            <a:off x="5257801" y="1399540"/>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3" name="Rectangle 7"/>
          <p:cNvSpPr>
            <a:spLocks noChangeArrowheads="1"/>
          </p:cNvSpPr>
          <p:nvPr/>
        </p:nvSpPr>
        <p:spPr bwMode="auto">
          <a:xfrm>
            <a:off x="5257801" y="2163127"/>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4" name="Rectangle 8"/>
          <p:cNvSpPr>
            <a:spLocks noChangeArrowheads="1"/>
          </p:cNvSpPr>
          <p:nvPr/>
        </p:nvSpPr>
        <p:spPr bwMode="auto">
          <a:xfrm>
            <a:off x="5257801" y="2928302"/>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15" name="Rectangle 9"/>
          <p:cNvSpPr>
            <a:spLocks noChangeArrowheads="1"/>
          </p:cNvSpPr>
          <p:nvPr/>
        </p:nvSpPr>
        <p:spPr bwMode="auto">
          <a:xfrm>
            <a:off x="5257801" y="3693477"/>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6" name="Rectangle 10"/>
          <p:cNvSpPr>
            <a:spLocks noChangeArrowheads="1"/>
          </p:cNvSpPr>
          <p:nvPr/>
        </p:nvSpPr>
        <p:spPr bwMode="auto">
          <a:xfrm>
            <a:off x="5257801" y="4458652"/>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7" name="Rectangle 11"/>
          <p:cNvSpPr>
            <a:spLocks noChangeArrowheads="1"/>
          </p:cNvSpPr>
          <p:nvPr/>
        </p:nvSpPr>
        <p:spPr bwMode="auto">
          <a:xfrm>
            <a:off x="5257801" y="5223827"/>
            <a:ext cx="1393825" cy="584200"/>
          </a:xfrm>
          <a:prstGeom prst="rect">
            <a:avLst/>
          </a:prstGeom>
          <a:solidFill>
            <a:srgbClr val="8FFAA1"/>
          </a:solidFill>
          <a:ln w="12700" algn="ctr">
            <a:solidFill>
              <a:schemeClr val="bg1"/>
            </a:solidFill>
            <a:miter lim="800000"/>
            <a:headEnd/>
            <a:tailEnd/>
          </a:ln>
        </p:spPr>
        <p:txBody>
          <a:bodyPr lIns="36000" tIns="36000" rIns="36000" bIns="36000" anchor="ctr"/>
          <a:lstStyle/>
          <a:p>
            <a:pPr marL="12700" indent="-12700" algn="ctr">
              <a:lnSpc>
                <a:spcPct val="110000"/>
              </a:lnSpc>
              <a:defRPr/>
            </a:pPr>
            <a:r>
              <a:rPr lang="en-US" sz="1400">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4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8" name="Text Placeholder 31"/>
          <p:cNvSpPr txBox="1">
            <a:spLocks/>
          </p:cNvSpPr>
          <p:nvPr/>
        </p:nvSpPr>
        <p:spPr bwMode="auto">
          <a:xfrm>
            <a:off x="7331075" y="1399540"/>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
        <p:nvSpPr>
          <p:cNvPr id="41" name="Text Placeholder 31"/>
          <p:cNvSpPr txBox="1">
            <a:spLocks/>
          </p:cNvSpPr>
          <p:nvPr/>
        </p:nvSpPr>
        <p:spPr bwMode="auto">
          <a:xfrm>
            <a:off x="7331075" y="216312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
        <p:nvSpPr>
          <p:cNvPr id="43" name="Text Placeholder 31"/>
          <p:cNvSpPr txBox="1">
            <a:spLocks/>
          </p:cNvSpPr>
          <p:nvPr/>
        </p:nvSpPr>
        <p:spPr bwMode="auto">
          <a:xfrm>
            <a:off x="7331075" y="2929890"/>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
        <p:nvSpPr>
          <p:cNvPr id="44" name="Text Placeholder 31"/>
          <p:cNvSpPr txBox="1">
            <a:spLocks/>
          </p:cNvSpPr>
          <p:nvPr/>
        </p:nvSpPr>
        <p:spPr bwMode="auto">
          <a:xfrm>
            <a:off x="7331075" y="369347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
        <p:nvSpPr>
          <p:cNvPr id="45" name="Text Placeholder 31"/>
          <p:cNvSpPr txBox="1">
            <a:spLocks/>
          </p:cNvSpPr>
          <p:nvPr/>
        </p:nvSpPr>
        <p:spPr bwMode="auto">
          <a:xfrm>
            <a:off x="7331075" y="4461034"/>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
        <p:nvSpPr>
          <p:cNvPr id="46" name="Text Placeholder 31"/>
          <p:cNvSpPr txBox="1">
            <a:spLocks/>
          </p:cNvSpPr>
          <p:nvPr/>
        </p:nvSpPr>
        <p:spPr bwMode="auto">
          <a:xfrm>
            <a:off x="7331075" y="5223827"/>
            <a:ext cx="2640012" cy="582612"/>
          </a:xfrm>
          <a:prstGeom prst="rect">
            <a:avLst/>
          </a:prstGeom>
          <a:noFill/>
          <a:ln>
            <a:miter lim="800000"/>
            <a:headEnd/>
            <a:tailEnd/>
          </a:ln>
        </p:spPr>
        <p:txBody>
          <a:bodyPr vert="horz" lIns="0" tIns="0" rIns="0" bIns="0" rtlCol="0">
            <a:norm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lvl="1" indent="-274320">
              <a:spcBef>
                <a:spcPts val="600"/>
              </a:spcBef>
              <a:buFont typeface="Arial" panose="020B0604020202020204" pitchFamily="34" charset="0"/>
              <a:buChar char="•"/>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65176">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a:t>
            </a:r>
          </a:p>
        </p:txBody>
      </p:sp>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5" name="Title 1"/>
          <p:cNvSpPr>
            <a:spLocks noGrp="1"/>
          </p:cNvSpPr>
          <p:nvPr>
            <p:ph type="title"/>
          </p:nvPr>
        </p:nvSpPr>
        <p:spPr>
          <a:noFill/>
        </p:spPr>
        <p:txBody>
          <a:bodyPr/>
          <a:lstStyle/>
          <a:p>
            <a:r>
              <a:rPr lang="en-US" dirty="0"/>
              <a:t>Diagonal boxes</a:t>
            </a:r>
          </a:p>
        </p:txBody>
      </p:sp>
      <p:sp>
        <p:nvSpPr>
          <p:cNvPr id="2" name="Foliennummernplatzhalter 1">
            <a:extLst>
              <a:ext uri="{FF2B5EF4-FFF2-40B4-BE49-F238E27FC236}">
                <a16:creationId xmlns:a16="http://schemas.microsoft.com/office/drawing/2014/main" id="{77069FE0-EB98-436D-992F-8120D20FF427}"/>
              </a:ext>
            </a:extLst>
          </p:cNvPr>
          <p:cNvSpPr>
            <a:spLocks noGrp="1"/>
          </p:cNvSpPr>
          <p:nvPr>
            <p:ph type="sldNum" sz="quarter" idx="16"/>
          </p:nvPr>
        </p:nvSpPr>
        <p:spPr/>
        <p:txBody>
          <a:bodyPr/>
          <a:lstStyle/>
          <a:p>
            <a:fld id="{95CC1D26-A9BD-4BDE-BDD9-08EDBAE96860}" type="slidenum">
              <a:rPr lang="en-GB" smtClean="0"/>
              <a:pPr/>
              <a:t>24</a:t>
            </a:fld>
            <a:endParaRPr lang="en-GB" dirty="0"/>
          </a:p>
        </p:txBody>
      </p:sp>
      <p:sp>
        <p:nvSpPr>
          <p:cNvPr id="27" name="Rectangle 3">
            <a:extLst>
              <a:ext uri="{FF2B5EF4-FFF2-40B4-BE49-F238E27FC236}">
                <a16:creationId xmlns:a16="http://schemas.microsoft.com/office/drawing/2014/main" id="{1CA7A60A-CFC6-4734-B025-6F2F4372C12E}"/>
              </a:ext>
            </a:extLst>
          </p:cNvPr>
          <p:cNvSpPr>
            <a:spLocks noChangeArrowheads="1"/>
          </p:cNvSpPr>
          <p:nvPr>
            <p:custDataLst>
              <p:tags r:id="rId1"/>
            </p:custDataLst>
          </p:nvPr>
        </p:nvSpPr>
        <p:spPr bwMode="auto">
          <a:xfrm>
            <a:off x="2439989" y="4133851"/>
            <a:ext cx="1793875" cy="248136"/>
          </a:xfrm>
          <a:prstGeom prst="rect">
            <a:avLst/>
          </a:prstGeom>
          <a:noFill/>
          <a:ln w="12700" algn="ctr">
            <a:noFill/>
            <a:miter lim="800000"/>
            <a:headEnd/>
            <a:tailEnd/>
          </a:ln>
        </p:spPr>
        <p:txBody>
          <a:bodyPr lIns="36000" tIns="36000" rIns="36000" bIns="36000">
            <a:spAutoFit/>
          </a:bodyPr>
          <a:lstStyle/>
          <a:p>
            <a:pPr algn="ctr" defTabSz="762000">
              <a:lnSpc>
                <a:spcPct val="95000"/>
              </a:lnSpc>
            </a:pPr>
            <a:r>
              <a:rPr lang="en-US" sz="1200" b="1">
                <a:latin typeface="Microsoft Sans Serif" panose="020B0604020202020204" pitchFamily="34" charset="0"/>
                <a:ea typeface="Microsoft Sans Serif" panose="020B0604020202020204" pitchFamily="34" charset="0"/>
                <a:cs typeface="Microsoft Sans Serif" panose="020B0604020202020204" pitchFamily="34" charset="0"/>
              </a:rPr>
              <a:t>Step 1</a:t>
            </a:r>
          </a:p>
        </p:txBody>
      </p:sp>
      <p:sp>
        <p:nvSpPr>
          <p:cNvPr id="29" name="Rectangle 3">
            <a:extLst>
              <a:ext uri="{FF2B5EF4-FFF2-40B4-BE49-F238E27FC236}">
                <a16:creationId xmlns:a16="http://schemas.microsoft.com/office/drawing/2014/main" id="{B1AFCEA3-AAE8-435B-A8CE-2F607738FBC9}"/>
              </a:ext>
            </a:extLst>
          </p:cNvPr>
          <p:cNvSpPr>
            <a:spLocks noChangeArrowheads="1"/>
          </p:cNvSpPr>
          <p:nvPr>
            <p:custDataLst>
              <p:tags r:id="rId2"/>
            </p:custDataLst>
          </p:nvPr>
        </p:nvSpPr>
        <p:spPr bwMode="auto">
          <a:xfrm>
            <a:off x="2416176" y="3878263"/>
            <a:ext cx="1814513" cy="520700"/>
          </a:xfrm>
          <a:prstGeom prst="rect">
            <a:avLst/>
          </a:prstGeom>
          <a:solidFill>
            <a:srgbClr val="F0F0F0"/>
          </a:solidFill>
          <a:ln w="12700" algn="ctr">
            <a:solidFill>
              <a:srgbClr val="F0F0F0"/>
            </a:solidFill>
            <a:miter lim="800000"/>
            <a:headEnd/>
            <a:tailEnd/>
          </a:ln>
        </p:spPr>
        <p:txBody>
          <a:bodyPr lIns="36000" tIns="36000" rIns="36000" bIns="36000" anchor="ctr"/>
          <a:lstStyle/>
          <a:p>
            <a:pPr algn="ctr" defTabSz="865188">
              <a:lnSpc>
                <a:spcPct val="95000"/>
              </a:lnSpc>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0" name="Rectangle 4">
            <a:extLst>
              <a:ext uri="{FF2B5EF4-FFF2-40B4-BE49-F238E27FC236}">
                <a16:creationId xmlns:a16="http://schemas.microsoft.com/office/drawing/2014/main" id="{28061948-404C-463B-B90D-55827EB2B509}"/>
              </a:ext>
            </a:extLst>
          </p:cNvPr>
          <p:cNvSpPr>
            <a:spLocks noChangeArrowheads="1"/>
          </p:cNvSpPr>
          <p:nvPr>
            <p:custDataLst>
              <p:tags r:id="rId3"/>
            </p:custDataLst>
          </p:nvPr>
        </p:nvSpPr>
        <p:spPr bwMode="auto">
          <a:xfrm>
            <a:off x="4276725" y="3119438"/>
            <a:ext cx="1816100" cy="520700"/>
          </a:xfrm>
          <a:prstGeom prst="rect">
            <a:avLst/>
          </a:prstGeom>
          <a:solidFill>
            <a:schemeClr val="accent1"/>
          </a:solidFill>
          <a:ln w="12700" algn="ctr">
            <a:solidFill>
              <a:srgbClr val="8FFAA1"/>
            </a:solidFill>
            <a:miter lim="800000"/>
            <a:headEnd/>
            <a:tailEnd/>
          </a:ln>
        </p:spPr>
        <p:txBody>
          <a:bodyPr lIns="36000" tIns="36000" rIns="36000" bIns="36000" anchor="ctr"/>
          <a:lstStyle/>
          <a:p>
            <a:pPr algn="ctr" defTabSz="865188">
              <a:lnSpc>
                <a:spcPct val="95000"/>
              </a:lnSpc>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31" name="Rectangle 5">
            <a:extLst>
              <a:ext uri="{FF2B5EF4-FFF2-40B4-BE49-F238E27FC236}">
                <a16:creationId xmlns:a16="http://schemas.microsoft.com/office/drawing/2014/main" id="{DF22DB6B-F6D0-4E6B-B699-D9DB7C8189D8}"/>
              </a:ext>
            </a:extLst>
          </p:cNvPr>
          <p:cNvSpPr>
            <a:spLocks noChangeArrowheads="1"/>
          </p:cNvSpPr>
          <p:nvPr>
            <p:custDataLst>
              <p:tags r:id="rId4"/>
            </p:custDataLst>
          </p:nvPr>
        </p:nvSpPr>
        <p:spPr bwMode="auto">
          <a:xfrm>
            <a:off x="6137275" y="2368550"/>
            <a:ext cx="1816100" cy="520700"/>
          </a:xfrm>
          <a:prstGeom prst="rect">
            <a:avLst/>
          </a:prstGeom>
          <a:solidFill>
            <a:srgbClr val="FF9E79"/>
          </a:solidFill>
          <a:ln w="12700" algn="ctr">
            <a:solidFill>
              <a:srgbClr val="FF9E79"/>
            </a:solidFill>
            <a:miter lim="800000"/>
            <a:headEnd/>
            <a:tailEnd/>
          </a:ln>
        </p:spPr>
        <p:txBody>
          <a:bodyPr lIns="36000" tIns="36000" rIns="36000" bIns="36000" anchor="ctr"/>
          <a:lstStyle/>
          <a:p>
            <a:pPr algn="ctr" defTabSz="865188">
              <a:lnSpc>
                <a:spcPct val="95000"/>
              </a:lnSpc>
              <a:defRPr/>
            </a:pPr>
            <a:r>
              <a:rPr lang="en-US" sz="1200" b="1">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2" name="Rectangle 6">
            <a:extLst>
              <a:ext uri="{FF2B5EF4-FFF2-40B4-BE49-F238E27FC236}">
                <a16:creationId xmlns:a16="http://schemas.microsoft.com/office/drawing/2014/main" id="{4CD39D9B-523F-408F-9F39-21226CEC99A2}"/>
              </a:ext>
            </a:extLst>
          </p:cNvPr>
          <p:cNvSpPr>
            <a:spLocks noChangeArrowheads="1"/>
          </p:cNvSpPr>
          <p:nvPr>
            <p:custDataLst>
              <p:tags r:id="rId5"/>
            </p:custDataLst>
          </p:nvPr>
        </p:nvSpPr>
        <p:spPr bwMode="auto">
          <a:xfrm>
            <a:off x="7997826" y="1600200"/>
            <a:ext cx="1814513" cy="520700"/>
          </a:xfrm>
          <a:prstGeom prst="rect">
            <a:avLst/>
          </a:prstGeom>
          <a:solidFill>
            <a:srgbClr val="333F4C"/>
          </a:solidFill>
          <a:ln w="12700" algn="ctr">
            <a:solidFill>
              <a:srgbClr val="333F4C"/>
            </a:solidFill>
            <a:miter lim="800000"/>
            <a:headEnd/>
            <a:tailEnd/>
          </a:ln>
        </p:spPr>
        <p:txBody>
          <a:bodyPr lIns="36000" tIns="36000" rIns="36000" bIns="36000" anchor="ctr"/>
          <a:lstStyle/>
          <a:p>
            <a:pPr algn="ctr" defTabSz="865188">
              <a:lnSpc>
                <a:spcPct val="95000"/>
              </a:lnSpc>
              <a:defRPr/>
            </a:pPr>
            <a:r>
              <a:rPr lang="en-US" sz="1200" b="1">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rPr>
              <a:t>Text</a:t>
            </a:r>
            <a:endParaRPr lang="en-US" sz="1200" b="1" dirty="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cxnSp>
        <p:nvCxnSpPr>
          <p:cNvPr id="33" name="AutoShape 7">
            <a:extLst>
              <a:ext uri="{FF2B5EF4-FFF2-40B4-BE49-F238E27FC236}">
                <a16:creationId xmlns:a16="http://schemas.microsoft.com/office/drawing/2014/main" id="{6B321139-F44B-4F30-8F2C-FABF248555B3}"/>
              </a:ext>
            </a:extLst>
          </p:cNvPr>
          <p:cNvCxnSpPr>
            <a:cxnSpLocks noChangeShapeType="1"/>
            <a:stCxn id="29" idx="0"/>
            <a:endCxn id="30" idx="1"/>
          </p:cNvCxnSpPr>
          <p:nvPr>
            <p:custDataLst>
              <p:tags r:id="rId6"/>
            </p:custDataLst>
          </p:nvPr>
        </p:nvCxnSpPr>
        <p:spPr bwMode="auto">
          <a:xfrm rot="5400000" flipH="1" flipV="1">
            <a:off x="3550842" y="3152381"/>
            <a:ext cx="498475" cy="953293"/>
          </a:xfrm>
          <a:prstGeom prst="bentConnector2">
            <a:avLst/>
          </a:prstGeom>
          <a:noFill/>
          <a:ln w="19050">
            <a:solidFill>
              <a:srgbClr val="B4B4B4"/>
            </a:solidFill>
            <a:miter lim="800000"/>
            <a:headEnd/>
            <a:tailEnd type="triangle" w="med" len="med"/>
          </a:ln>
        </p:spPr>
      </p:cxnSp>
      <p:cxnSp>
        <p:nvCxnSpPr>
          <p:cNvPr id="34" name="AutoShape 8">
            <a:extLst>
              <a:ext uri="{FF2B5EF4-FFF2-40B4-BE49-F238E27FC236}">
                <a16:creationId xmlns:a16="http://schemas.microsoft.com/office/drawing/2014/main" id="{836DD2C9-FE24-4294-A660-B07FA22B5752}"/>
              </a:ext>
            </a:extLst>
          </p:cNvPr>
          <p:cNvCxnSpPr>
            <a:cxnSpLocks noChangeShapeType="1"/>
            <a:stCxn id="30" idx="0"/>
            <a:endCxn id="31" idx="1"/>
          </p:cNvCxnSpPr>
          <p:nvPr>
            <p:custDataLst>
              <p:tags r:id="rId7"/>
            </p:custDataLst>
          </p:nvPr>
        </p:nvCxnSpPr>
        <p:spPr bwMode="auto">
          <a:xfrm rot="5400000" flipH="1" flipV="1">
            <a:off x="5415756" y="2397919"/>
            <a:ext cx="490538" cy="952500"/>
          </a:xfrm>
          <a:prstGeom prst="bentConnector2">
            <a:avLst/>
          </a:prstGeom>
          <a:noFill/>
          <a:ln w="19050">
            <a:solidFill>
              <a:srgbClr val="B4B4B4"/>
            </a:solidFill>
            <a:miter lim="800000"/>
            <a:headEnd/>
            <a:tailEnd type="triangle" w="med" len="med"/>
          </a:ln>
        </p:spPr>
      </p:cxnSp>
      <p:cxnSp>
        <p:nvCxnSpPr>
          <p:cNvPr id="35" name="AutoShape 9">
            <a:extLst>
              <a:ext uri="{FF2B5EF4-FFF2-40B4-BE49-F238E27FC236}">
                <a16:creationId xmlns:a16="http://schemas.microsoft.com/office/drawing/2014/main" id="{757D1F9A-AC67-458A-B785-8B06AF52A2BC}"/>
              </a:ext>
            </a:extLst>
          </p:cNvPr>
          <p:cNvCxnSpPr>
            <a:cxnSpLocks noChangeShapeType="1"/>
            <a:stCxn id="31" idx="0"/>
            <a:endCxn id="32" idx="1"/>
          </p:cNvCxnSpPr>
          <p:nvPr>
            <p:custDataLst>
              <p:tags r:id="rId8"/>
            </p:custDataLst>
          </p:nvPr>
        </p:nvCxnSpPr>
        <p:spPr bwMode="auto">
          <a:xfrm rot="5400000" flipH="1" flipV="1">
            <a:off x="7267575" y="1638300"/>
            <a:ext cx="508000" cy="952500"/>
          </a:xfrm>
          <a:prstGeom prst="bentConnector2">
            <a:avLst/>
          </a:prstGeom>
          <a:noFill/>
          <a:ln w="19050">
            <a:solidFill>
              <a:srgbClr val="B4B4B4"/>
            </a:solidFill>
            <a:miter lim="800000"/>
            <a:headEnd/>
            <a:tailEnd type="triangle" w="med" len="med"/>
          </a:ln>
        </p:spPr>
      </p:cxnSp>
      <p:sp>
        <p:nvSpPr>
          <p:cNvPr id="36" name="Text Placeholder 5">
            <a:extLst>
              <a:ext uri="{FF2B5EF4-FFF2-40B4-BE49-F238E27FC236}">
                <a16:creationId xmlns:a16="http://schemas.microsoft.com/office/drawing/2014/main" id="{CE8CF958-49F2-45F1-9BDD-F6C2752A8C73}"/>
              </a:ext>
            </a:extLst>
          </p:cNvPr>
          <p:cNvSpPr txBox="1">
            <a:spLocks/>
          </p:cNvSpPr>
          <p:nvPr>
            <p:custDataLst>
              <p:tags r:id="rId9"/>
            </p:custDataLst>
          </p:nvPr>
        </p:nvSpPr>
        <p:spPr>
          <a:xfrm>
            <a:off x="7997825" y="2212820"/>
            <a:ext cx="1555750"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74320">
              <a:spcBef>
                <a:spcPts val="600"/>
              </a:spcBef>
            </a:pPr>
            <a:r>
              <a:rPr lang="en-US"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  </a:t>
            </a:r>
          </a:p>
        </p:txBody>
      </p:sp>
      <p:sp>
        <p:nvSpPr>
          <p:cNvPr id="37" name="Text Placeholder 5">
            <a:extLst>
              <a:ext uri="{FF2B5EF4-FFF2-40B4-BE49-F238E27FC236}">
                <a16:creationId xmlns:a16="http://schemas.microsoft.com/office/drawing/2014/main" id="{D24C7D96-6BEC-4EFA-9D46-A16039096B3C}"/>
              </a:ext>
            </a:extLst>
          </p:cNvPr>
          <p:cNvSpPr txBox="1">
            <a:spLocks/>
          </p:cNvSpPr>
          <p:nvPr>
            <p:custDataLst>
              <p:tags r:id="rId10"/>
            </p:custDataLst>
          </p:nvPr>
        </p:nvSpPr>
        <p:spPr>
          <a:xfrm>
            <a:off x="2416175" y="4477093"/>
            <a:ext cx="1555750"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74320">
              <a:spcBef>
                <a:spcPts val="600"/>
              </a:spcBef>
            </a:pPr>
            <a:r>
              <a:rPr lang="en-US"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  </a:t>
            </a:r>
          </a:p>
        </p:txBody>
      </p:sp>
      <p:sp>
        <p:nvSpPr>
          <p:cNvPr id="38" name="Text Placeholder 5">
            <a:extLst>
              <a:ext uri="{FF2B5EF4-FFF2-40B4-BE49-F238E27FC236}">
                <a16:creationId xmlns:a16="http://schemas.microsoft.com/office/drawing/2014/main" id="{842DD3CB-C6A0-4628-8037-39FD6E964564}"/>
              </a:ext>
            </a:extLst>
          </p:cNvPr>
          <p:cNvSpPr txBox="1">
            <a:spLocks/>
          </p:cNvSpPr>
          <p:nvPr>
            <p:custDataLst>
              <p:tags r:id="rId11"/>
            </p:custDataLst>
          </p:nvPr>
        </p:nvSpPr>
        <p:spPr>
          <a:xfrm>
            <a:off x="4276725" y="3722336"/>
            <a:ext cx="1555750"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74320">
              <a:spcBef>
                <a:spcPts val="600"/>
              </a:spcBef>
            </a:pPr>
            <a:r>
              <a:rPr lang="en-US"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  </a:t>
            </a:r>
          </a:p>
        </p:txBody>
      </p:sp>
      <p:sp>
        <p:nvSpPr>
          <p:cNvPr id="39" name="Text Placeholder 5">
            <a:extLst>
              <a:ext uri="{FF2B5EF4-FFF2-40B4-BE49-F238E27FC236}">
                <a16:creationId xmlns:a16="http://schemas.microsoft.com/office/drawing/2014/main" id="{A59845AF-C453-469D-B641-55EE24EEEA3C}"/>
              </a:ext>
            </a:extLst>
          </p:cNvPr>
          <p:cNvSpPr txBox="1">
            <a:spLocks/>
          </p:cNvSpPr>
          <p:nvPr>
            <p:custDataLst>
              <p:tags r:id="rId12"/>
            </p:custDataLst>
          </p:nvPr>
        </p:nvSpPr>
        <p:spPr>
          <a:xfrm>
            <a:off x="6137275" y="2967578"/>
            <a:ext cx="1555750" cy="815608"/>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74320" lvl="1" indent="-274320">
              <a:spcBef>
                <a:spcPts val="600"/>
              </a:spcBef>
            </a:pPr>
            <a:r>
              <a:rPr lang="en-US" sz="12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one bullet</a:t>
            </a:r>
          </a:p>
          <a:p>
            <a:pPr marL="539496" lvl="2" indent="-274320">
              <a:spcBef>
                <a:spcPts val="600"/>
              </a:spcBef>
            </a:pPr>
            <a:r>
              <a:rPr lang="en-US"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This is a level two bullet  </a:t>
            </a:r>
          </a:p>
        </p:txBody>
      </p:sp>
      <p:sp>
        <p:nvSpPr>
          <p:cNvPr id="40" name="Rectangle 5">
            <a:extLst>
              <a:ext uri="{FF2B5EF4-FFF2-40B4-BE49-F238E27FC236}">
                <a16:creationId xmlns:a16="http://schemas.microsoft.com/office/drawing/2014/main" id="{36B9741B-3EA4-4375-8FB9-A323DB8B77D6}"/>
              </a:ext>
            </a:extLst>
          </p:cNvPr>
          <p:cNvSpPr>
            <a:spLocks noChangeArrowheads="1"/>
          </p:cNvSpPr>
          <p:nvPr/>
        </p:nvSpPr>
        <p:spPr bwMode="auto">
          <a:xfrm>
            <a:off x="3173549" y="5760001"/>
            <a:ext cx="299762" cy="17543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42" name="AutoShape 6">
            <a:extLst>
              <a:ext uri="{FF2B5EF4-FFF2-40B4-BE49-F238E27FC236}">
                <a16:creationId xmlns:a16="http://schemas.microsoft.com/office/drawing/2014/main" id="{1F2C68BC-8C55-4677-9CE4-7151E94EB01B}"/>
              </a:ext>
            </a:extLst>
          </p:cNvPr>
          <p:cNvSpPr>
            <a:spLocks noChangeArrowheads="1"/>
          </p:cNvSpPr>
          <p:nvPr/>
        </p:nvSpPr>
        <p:spPr bwMode="auto">
          <a:xfrm>
            <a:off x="3143431" y="5400000"/>
            <a:ext cx="360000" cy="270000"/>
          </a:xfrm>
          <a:prstGeom prst="downArrow">
            <a:avLst/>
          </a:prstGeom>
          <a:solidFill>
            <a:srgbClr val="EBECED"/>
          </a:solidFill>
          <a:ln w="12700" algn="ctr">
            <a:solidFill>
              <a:schemeClr val="bg1"/>
            </a:solidFill>
            <a:miter lim="800000"/>
            <a:headEnd/>
            <a:tailEnd/>
          </a:ln>
        </p:spPr>
        <p:txBody>
          <a:bodyPr rot="10800000" vert="eaVert" wrap="none" lIns="36000" tIns="36000" rIns="36000" bIns="36000" anchor="ctr"/>
          <a:lstStyle/>
          <a:p>
            <a:pPr algn="ctr">
              <a:defRPr/>
            </a:pP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7" name="Rectangle 7">
            <a:extLst>
              <a:ext uri="{FF2B5EF4-FFF2-40B4-BE49-F238E27FC236}">
                <a16:creationId xmlns:a16="http://schemas.microsoft.com/office/drawing/2014/main" id="{96839D53-D7D7-4BF8-904F-DA84AD434FB1}"/>
              </a:ext>
            </a:extLst>
          </p:cNvPr>
          <p:cNvSpPr>
            <a:spLocks noChangeArrowheads="1"/>
          </p:cNvSpPr>
          <p:nvPr/>
        </p:nvSpPr>
        <p:spPr bwMode="auto">
          <a:xfrm>
            <a:off x="5034894" y="5760001"/>
            <a:ext cx="299762" cy="17543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48" name="AutoShape 8">
            <a:extLst>
              <a:ext uri="{FF2B5EF4-FFF2-40B4-BE49-F238E27FC236}">
                <a16:creationId xmlns:a16="http://schemas.microsoft.com/office/drawing/2014/main" id="{12D4AD1A-B895-4B41-97C8-D5F5E84F571B}"/>
              </a:ext>
            </a:extLst>
          </p:cNvPr>
          <p:cNvSpPr>
            <a:spLocks noChangeArrowheads="1"/>
          </p:cNvSpPr>
          <p:nvPr/>
        </p:nvSpPr>
        <p:spPr bwMode="auto">
          <a:xfrm>
            <a:off x="5004775" y="5400000"/>
            <a:ext cx="360000" cy="270000"/>
          </a:xfrm>
          <a:prstGeom prst="downArrow">
            <a:avLst/>
          </a:prstGeom>
          <a:solidFill>
            <a:schemeClr val="accent1"/>
          </a:solidFill>
          <a:ln w="12700" algn="ctr">
            <a:solidFill>
              <a:schemeClr val="bg1"/>
            </a:solidFill>
            <a:miter lim="800000"/>
            <a:headEnd/>
            <a:tailEnd/>
          </a:ln>
        </p:spPr>
        <p:txBody>
          <a:bodyPr rot="10800000" vert="eaVert" wrap="none" lIns="36000" tIns="36000" rIns="36000" bIns="36000" anchor="ctr"/>
          <a:lstStyle/>
          <a:p>
            <a:pPr algn="ctr">
              <a:defRPr/>
            </a:pP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9" name="Rectangle 9">
            <a:extLst>
              <a:ext uri="{FF2B5EF4-FFF2-40B4-BE49-F238E27FC236}">
                <a16:creationId xmlns:a16="http://schemas.microsoft.com/office/drawing/2014/main" id="{1C60AE0A-0794-4CC0-851B-C0333825437D}"/>
              </a:ext>
            </a:extLst>
          </p:cNvPr>
          <p:cNvSpPr>
            <a:spLocks noChangeArrowheads="1"/>
          </p:cNvSpPr>
          <p:nvPr/>
        </p:nvSpPr>
        <p:spPr bwMode="auto">
          <a:xfrm>
            <a:off x="6895443" y="5760001"/>
            <a:ext cx="299762" cy="17543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50" name="AutoShape 10">
            <a:extLst>
              <a:ext uri="{FF2B5EF4-FFF2-40B4-BE49-F238E27FC236}">
                <a16:creationId xmlns:a16="http://schemas.microsoft.com/office/drawing/2014/main" id="{AC03CA1D-A9DF-4739-8356-85174281D13E}"/>
              </a:ext>
            </a:extLst>
          </p:cNvPr>
          <p:cNvSpPr>
            <a:spLocks noChangeArrowheads="1"/>
          </p:cNvSpPr>
          <p:nvPr/>
        </p:nvSpPr>
        <p:spPr bwMode="auto">
          <a:xfrm>
            <a:off x="6865325" y="5400000"/>
            <a:ext cx="360000" cy="270000"/>
          </a:xfrm>
          <a:prstGeom prst="downArrow">
            <a:avLst/>
          </a:prstGeom>
          <a:solidFill>
            <a:schemeClr val="accent3"/>
          </a:solidFill>
          <a:ln w="12700" algn="ctr">
            <a:solidFill>
              <a:schemeClr val="bg1"/>
            </a:solidFill>
            <a:miter lim="800000"/>
            <a:headEnd/>
            <a:tailEnd/>
          </a:ln>
        </p:spPr>
        <p:txBody>
          <a:bodyPr rot="10800000" vert="eaVert" wrap="none" lIns="36000" tIns="36000" rIns="36000" bIns="36000" anchor="ctr"/>
          <a:lstStyle/>
          <a:p>
            <a:pPr algn="ctr">
              <a:defRPr/>
            </a:pP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1" name="Rectangle 11">
            <a:extLst>
              <a:ext uri="{FF2B5EF4-FFF2-40B4-BE49-F238E27FC236}">
                <a16:creationId xmlns:a16="http://schemas.microsoft.com/office/drawing/2014/main" id="{3E405C3E-C6FD-4CAE-8EB9-4552762DF677}"/>
              </a:ext>
            </a:extLst>
          </p:cNvPr>
          <p:cNvSpPr>
            <a:spLocks noChangeArrowheads="1"/>
          </p:cNvSpPr>
          <p:nvPr/>
        </p:nvSpPr>
        <p:spPr bwMode="auto">
          <a:xfrm>
            <a:off x="8755200" y="5760001"/>
            <a:ext cx="299762" cy="175433"/>
          </a:xfrm>
          <a:prstGeom prst="rect">
            <a:avLst/>
          </a:prstGeom>
          <a:noFill/>
          <a:ln w="12700" algn="ctr">
            <a:noFill/>
            <a:miter lim="800000"/>
            <a:headEnd/>
            <a:tailEnd/>
          </a:ln>
        </p:spPr>
        <p:txBody>
          <a:bodyPr wrap="none" lIns="0" tIns="0" rIns="0" bIns="0">
            <a:spAutoFit/>
          </a:bodyPr>
          <a:lstStyle/>
          <a:p>
            <a:pPr algn="ctr" defTabSz="762000">
              <a:lnSpc>
                <a:spcPct val="95000"/>
              </a:lnSpc>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Text</a:t>
            </a:r>
          </a:p>
        </p:txBody>
      </p:sp>
      <p:sp>
        <p:nvSpPr>
          <p:cNvPr id="52" name="AutoShape 12">
            <a:extLst>
              <a:ext uri="{FF2B5EF4-FFF2-40B4-BE49-F238E27FC236}">
                <a16:creationId xmlns:a16="http://schemas.microsoft.com/office/drawing/2014/main" id="{DC74FEA3-FC75-44CB-9420-A8F5DE8CB6BC}"/>
              </a:ext>
            </a:extLst>
          </p:cNvPr>
          <p:cNvSpPr>
            <a:spLocks noChangeArrowheads="1"/>
          </p:cNvSpPr>
          <p:nvPr/>
        </p:nvSpPr>
        <p:spPr bwMode="auto">
          <a:xfrm>
            <a:off x="8725081" y="5400000"/>
            <a:ext cx="360000" cy="270000"/>
          </a:xfrm>
          <a:prstGeom prst="downArrow">
            <a:avLst/>
          </a:prstGeom>
          <a:solidFill>
            <a:srgbClr val="333F4C"/>
          </a:solidFill>
          <a:ln w="12700" algn="ctr">
            <a:solidFill>
              <a:schemeClr val="bg1"/>
            </a:solidFill>
            <a:miter lim="800000"/>
            <a:headEnd/>
            <a:tailEnd/>
          </a:ln>
        </p:spPr>
        <p:txBody>
          <a:bodyPr rot="10800000" vert="eaVert" wrap="none" lIns="36000" tIns="36000" rIns="36000" bIns="36000" anchor="ctr"/>
          <a:lstStyle/>
          <a:p>
            <a:pPr algn="ctr">
              <a:defRPr/>
            </a:pP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Tree>
    <p:extLst>
      <p:ext uri="{BB962C8B-B14F-4D97-AF65-F5344CB8AC3E}">
        <p14:creationId xmlns:p14="http://schemas.microsoft.com/office/powerpoint/2010/main" val="390517780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7" name="Title 1"/>
          <p:cNvSpPr>
            <a:spLocks noGrp="1"/>
          </p:cNvSpPr>
          <p:nvPr>
            <p:ph type="title"/>
          </p:nvPr>
        </p:nvSpPr>
        <p:spPr/>
        <p:txBody>
          <a:bodyPr/>
          <a:lstStyle/>
          <a:p>
            <a:r>
              <a:rPr lang="en-US" dirty="0"/>
              <a:t>Chevron table</a:t>
            </a:r>
          </a:p>
        </p:txBody>
      </p:sp>
      <p:sp>
        <p:nvSpPr>
          <p:cNvPr id="2" name="Foliennummernplatzhalter 1">
            <a:extLst>
              <a:ext uri="{FF2B5EF4-FFF2-40B4-BE49-F238E27FC236}">
                <a16:creationId xmlns:a16="http://schemas.microsoft.com/office/drawing/2014/main" id="{A733F0C6-5899-49A2-8A0F-7E82C63158B4}"/>
              </a:ext>
            </a:extLst>
          </p:cNvPr>
          <p:cNvSpPr>
            <a:spLocks noGrp="1"/>
          </p:cNvSpPr>
          <p:nvPr>
            <p:ph type="sldNum" sz="quarter" idx="16"/>
          </p:nvPr>
        </p:nvSpPr>
        <p:spPr/>
        <p:txBody>
          <a:bodyPr/>
          <a:lstStyle/>
          <a:p>
            <a:fld id="{95CC1D26-A9BD-4BDE-BDD9-08EDBAE96860}" type="slidenum">
              <a:rPr lang="en-GB" smtClean="0"/>
              <a:pPr/>
              <a:t>25</a:t>
            </a:fld>
            <a:endParaRPr lang="en-GB" dirty="0"/>
          </a:p>
        </p:txBody>
      </p:sp>
      <p:graphicFrame>
        <p:nvGraphicFramePr>
          <p:cNvPr id="19" name="Table 18"/>
          <p:cNvGraphicFramePr>
            <a:graphicFrameLocks noGrp="1"/>
          </p:cNvGraphicFramePr>
          <p:nvPr>
            <p:extLst>
              <p:ext uri="{D42A27DB-BD31-4B8C-83A1-F6EECF244321}">
                <p14:modId xmlns:p14="http://schemas.microsoft.com/office/powerpoint/2010/main" val="725224648"/>
              </p:ext>
            </p:extLst>
          </p:nvPr>
        </p:nvGraphicFramePr>
        <p:xfrm>
          <a:off x="1791647" y="1857983"/>
          <a:ext cx="8197875" cy="3729060"/>
        </p:xfrm>
        <a:graphic>
          <a:graphicData uri="http://schemas.openxmlformats.org/drawingml/2006/table">
            <a:tbl>
              <a:tblPr/>
              <a:tblGrid>
                <a:gridCol w="1639575">
                  <a:extLst>
                    <a:ext uri="{9D8B030D-6E8A-4147-A177-3AD203B41FA5}">
                      <a16:colId xmlns:a16="http://schemas.microsoft.com/office/drawing/2014/main" val="20000"/>
                    </a:ext>
                  </a:extLst>
                </a:gridCol>
                <a:gridCol w="1639575">
                  <a:extLst>
                    <a:ext uri="{9D8B030D-6E8A-4147-A177-3AD203B41FA5}">
                      <a16:colId xmlns:a16="http://schemas.microsoft.com/office/drawing/2014/main" val="20001"/>
                    </a:ext>
                  </a:extLst>
                </a:gridCol>
                <a:gridCol w="1639575">
                  <a:extLst>
                    <a:ext uri="{9D8B030D-6E8A-4147-A177-3AD203B41FA5}">
                      <a16:colId xmlns:a16="http://schemas.microsoft.com/office/drawing/2014/main" val="20002"/>
                    </a:ext>
                  </a:extLst>
                </a:gridCol>
                <a:gridCol w="1639575">
                  <a:extLst>
                    <a:ext uri="{9D8B030D-6E8A-4147-A177-3AD203B41FA5}">
                      <a16:colId xmlns:a16="http://schemas.microsoft.com/office/drawing/2014/main" val="20003"/>
                    </a:ext>
                  </a:extLst>
                </a:gridCol>
                <a:gridCol w="1639575">
                  <a:extLst>
                    <a:ext uri="{9D8B030D-6E8A-4147-A177-3AD203B41FA5}">
                      <a16:colId xmlns:a16="http://schemas.microsoft.com/office/drawing/2014/main" val="20004"/>
                    </a:ext>
                  </a:extLst>
                </a:gridCol>
              </a:tblGrid>
              <a:tr h="414340">
                <a:tc>
                  <a:txBody>
                    <a:bodyPr/>
                    <a:lstStyle/>
                    <a:p>
                      <a:endPar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T="72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p>
                      <a:r>
                        <a:rPr lang="en-GB"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Name of phas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Name of phas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Name of phas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Name of phase</a:t>
                      </a:r>
                    </a:p>
                  </a:txBody>
                  <a:tcPr marT="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277248044"/>
                  </a:ext>
                </a:extLst>
              </a:tr>
              <a:tr h="414340">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1</a:t>
                      </a:r>
                    </a:p>
                  </a:txBody>
                  <a:tcPr marT="7200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414340">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2</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10001"/>
                  </a:ext>
                </a:extLst>
              </a:tr>
              <a:tr h="414340">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3</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414340">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4</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10003"/>
                  </a:ext>
                </a:extLst>
              </a:tr>
              <a:tr h="414340">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5</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4"/>
                  </a:ext>
                </a:extLst>
              </a:tr>
              <a:tr h="414340">
                <a:tc>
                  <a:txBody>
                    <a:bodyPr/>
                    <a:lstStyle/>
                    <a:p>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6</a:t>
                      </a:r>
                    </a:p>
                  </a:txBody>
                  <a:tcPr marT="72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3F4C"/>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a:txBody>
                    <a:bodyPr/>
                    <a:lstStyle>
                      <a:lvl1pPr marL="0" algn="l" defTabSz="859512" rtl="0" eaLnBrk="1" latinLnBrk="0" hangingPunct="1">
                        <a:defRPr sz="1700" kern="1200">
                          <a:solidFill>
                            <a:schemeClr val="dk1"/>
                          </a:solidFill>
                          <a:latin typeface="Arial"/>
                          <a:ea typeface=""/>
                          <a:cs typeface=""/>
                        </a:defRPr>
                      </a:lvl1pPr>
                      <a:lvl2pPr marL="429756" algn="l" defTabSz="859512" rtl="0" eaLnBrk="1" latinLnBrk="0" hangingPunct="1">
                        <a:defRPr sz="1700" kern="1200">
                          <a:solidFill>
                            <a:schemeClr val="dk1"/>
                          </a:solidFill>
                          <a:latin typeface="Arial"/>
                          <a:ea typeface=""/>
                          <a:cs typeface=""/>
                        </a:defRPr>
                      </a:lvl2pPr>
                      <a:lvl3pPr marL="859512" algn="l" defTabSz="859512" rtl="0" eaLnBrk="1" latinLnBrk="0" hangingPunct="1">
                        <a:defRPr sz="1700" kern="1200">
                          <a:solidFill>
                            <a:schemeClr val="dk1"/>
                          </a:solidFill>
                          <a:latin typeface="Arial"/>
                          <a:ea typeface=""/>
                          <a:cs typeface=""/>
                        </a:defRPr>
                      </a:lvl3pPr>
                      <a:lvl4pPr marL="1289268" algn="l" defTabSz="859512" rtl="0" eaLnBrk="1" latinLnBrk="0" hangingPunct="1">
                        <a:defRPr sz="1700" kern="1200">
                          <a:solidFill>
                            <a:schemeClr val="dk1"/>
                          </a:solidFill>
                          <a:latin typeface="Arial"/>
                          <a:ea typeface=""/>
                          <a:cs typeface=""/>
                        </a:defRPr>
                      </a:lvl4pPr>
                      <a:lvl5pPr marL="1719024" algn="l" defTabSz="859512" rtl="0" eaLnBrk="1" latinLnBrk="0" hangingPunct="1">
                        <a:defRPr sz="1700" kern="1200">
                          <a:solidFill>
                            <a:schemeClr val="dk1"/>
                          </a:solidFill>
                          <a:latin typeface="Arial"/>
                          <a:ea typeface=""/>
                          <a:cs typeface=""/>
                        </a:defRPr>
                      </a:lvl5pPr>
                      <a:lvl6pPr marL="2148780" algn="l" defTabSz="859512" rtl="0" eaLnBrk="1" latinLnBrk="0" hangingPunct="1">
                        <a:defRPr sz="1700" kern="1200">
                          <a:solidFill>
                            <a:schemeClr val="dk1"/>
                          </a:solidFill>
                          <a:latin typeface="Arial"/>
                          <a:ea typeface=""/>
                          <a:cs typeface=""/>
                        </a:defRPr>
                      </a:lvl6pPr>
                      <a:lvl7pPr marL="2578536" algn="l" defTabSz="859512" rtl="0" eaLnBrk="1" latinLnBrk="0" hangingPunct="1">
                        <a:defRPr sz="1700" kern="1200">
                          <a:solidFill>
                            <a:schemeClr val="dk1"/>
                          </a:solidFill>
                          <a:latin typeface="Arial"/>
                          <a:ea typeface=""/>
                          <a:cs typeface=""/>
                        </a:defRPr>
                      </a:lvl7pPr>
                      <a:lvl8pPr marL="3008291" algn="l" defTabSz="859512" rtl="0" eaLnBrk="1" latinLnBrk="0" hangingPunct="1">
                        <a:defRPr sz="1700" kern="1200">
                          <a:solidFill>
                            <a:schemeClr val="dk1"/>
                          </a:solidFill>
                          <a:latin typeface="Arial"/>
                          <a:ea typeface=""/>
                          <a:cs typeface=""/>
                        </a:defRPr>
                      </a:lvl8pPr>
                      <a:lvl9pPr marL="3438048" algn="l" defTabSz="859512" rtl="0" eaLnBrk="1" latinLnBrk="0" hangingPunct="1">
                        <a:defRPr sz="17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3856725257"/>
                  </a:ext>
                </a:extLst>
              </a:tr>
              <a:tr h="414340">
                <a:tc>
                  <a:txBody>
                    <a:bodyPr/>
                    <a:lstStyle/>
                    <a:p>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7</a:t>
                      </a:r>
                    </a:p>
                  </a:txBody>
                  <a:tcPr marT="72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3F4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544753344"/>
                  </a:ext>
                </a:extLst>
              </a:tr>
              <a:tr h="414340">
                <a:tc>
                  <a:txBody>
                    <a:bodyPr/>
                    <a:lstStyle/>
                    <a:p>
                      <a:r>
                        <a:rPr lang="en-GB" sz="1100" dirty="0">
                          <a:solidFill>
                            <a:schemeClr val="bg2"/>
                          </a:solidFill>
                          <a:latin typeface="Microsoft Sans Serif" panose="020B0604020202020204" pitchFamily="34" charset="0"/>
                          <a:ea typeface="Microsoft Sans Serif" panose="020B0604020202020204" pitchFamily="34" charset="0"/>
                          <a:cs typeface="Microsoft Sans Serif" panose="020B0604020202020204" pitchFamily="34" charset="0"/>
                        </a:rPr>
                        <a:t>Activity #8</a:t>
                      </a:r>
                    </a:p>
                  </a:txBody>
                  <a:tcPr marT="72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33F4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ext here</a:t>
                      </a:r>
                    </a:p>
                  </a:txBody>
                  <a:tcPr marT="7200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0F0F0"/>
                    </a:solidFill>
                  </a:tcPr>
                </a:tc>
                <a:extLst>
                  <a:ext uri="{0D108BD9-81ED-4DB2-BD59-A6C34878D82A}">
                    <a16:rowId xmlns:a16="http://schemas.microsoft.com/office/drawing/2014/main" val="2807662070"/>
                  </a:ext>
                </a:extLst>
              </a:tr>
            </a:tbl>
          </a:graphicData>
        </a:graphic>
      </p:graphicFrame>
    </p:spTree>
    <p:extLst>
      <p:ext uri="{BB962C8B-B14F-4D97-AF65-F5344CB8AC3E}">
        <p14:creationId xmlns:p14="http://schemas.microsoft.com/office/powerpoint/2010/main" val="424097131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7" name="Title 1"/>
          <p:cNvSpPr>
            <a:spLocks noGrp="1"/>
          </p:cNvSpPr>
          <p:nvPr>
            <p:ph type="title"/>
          </p:nvPr>
        </p:nvSpPr>
        <p:spPr/>
        <p:txBody>
          <a:bodyPr/>
          <a:lstStyle/>
          <a:p>
            <a:r>
              <a:rPr lang="en-US" dirty="0" err="1"/>
              <a:t>Swimlanes</a:t>
            </a:r>
            <a:endParaRPr lang="en-US" dirty="0"/>
          </a:p>
        </p:txBody>
      </p:sp>
      <p:sp>
        <p:nvSpPr>
          <p:cNvPr id="2" name="Foliennummernplatzhalter 1">
            <a:extLst>
              <a:ext uri="{FF2B5EF4-FFF2-40B4-BE49-F238E27FC236}">
                <a16:creationId xmlns:a16="http://schemas.microsoft.com/office/drawing/2014/main" id="{A733F0C6-5899-49A2-8A0F-7E82C63158B4}"/>
              </a:ext>
            </a:extLst>
          </p:cNvPr>
          <p:cNvSpPr>
            <a:spLocks noGrp="1"/>
          </p:cNvSpPr>
          <p:nvPr>
            <p:ph type="sldNum" sz="quarter" idx="16"/>
          </p:nvPr>
        </p:nvSpPr>
        <p:spPr/>
        <p:txBody>
          <a:bodyPr/>
          <a:lstStyle/>
          <a:p>
            <a:fld id="{95CC1D26-A9BD-4BDE-BDD9-08EDBAE96860}" type="slidenum">
              <a:rPr lang="en-GB" smtClean="0"/>
              <a:pPr/>
              <a:t>26</a:t>
            </a:fld>
            <a:endParaRPr lang="en-GB" dirty="0"/>
          </a:p>
        </p:txBody>
      </p:sp>
      <p:sp>
        <p:nvSpPr>
          <p:cNvPr id="5" name="Rectangle 2">
            <a:extLst>
              <a:ext uri="{FF2B5EF4-FFF2-40B4-BE49-F238E27FC236}">
                <a16:creationId xmlns:a16="http://schemas.microsoft.com/office/drawing/2014/main" id="{A28971DC-DCEB-4018-B8CD-2606C307CA1B}"/>
              </a:ext>
            </a:extLst>
          </p:cNvPr>
          <p:cNvSpPr>
            <a:spLocks noChangeArrowheads="1"/>
          </p:cNvSpPr>
          <p:nvPr/>
        </p:nvSpPr>
        <p:spPr bwMode="auto">
          <a:xfrm>
            <a:off x="1908175" y="1773238"/>
            <a:ext cx="8375650" cy="863600"/>
          </a:xfrm>
          <a:prstGeom prst="rect">
            <a:avLst/>
          </a:prstGeom>
          <a:solidFill>
            <a:srgbClr val="EBECED"/>
          </a:solidFill>
          <a:ln w="12700" algn="ctr">
            <a:solidFill>
              <a:schemeClr val="bg1"/>
            </a:solidFill>
            <a:miter lim="800000"/>
            <a:headEnd/>
            <a:tailEnd/>
          </a:ln>
        </p:spPr>
        <p:txBody>
          <a:bodyPr wrap="none" tIns="91440" bIns="91440" anchor="ctr"/>
          <a:lstStyle/>
          <a:p>
            <a:pPr algn="ctr">
              <a:defRPr/>
            </a:pPr>
            <a:endParaRPr lang="en-US" sz="1200" dirty="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 name="Rectangle 3">
            <a:extLst>
              <a:ext uri="{FF2B5EF4-FFF2-40B4-BE49-F238E27FC236}">
                <a16:creationId xmlns:a16="http://schemas.microsoft.com/office/drawing/2014/main" id="{47E9893A-73D1-4856-AE2C-B8B11835B94E}"/>
              </a:ext>
            </a:extLst>
          </p:cNvPr>
          <p:cNvSpPr>
            <a:spLocks noChangeArrowheads="1"/>
          </p:cNvSpPr>
          <p:nvPr/>
        </p:nvSpPr>
        <p:spPr bwMode="auto">
          <a:xfrm>
            <a:off x="1908175" y="3465513"/>
            <a:ext cx="8375650" cy="863600"/>
          </a:xfrm>
          <a:prstGeom prst="rect">
            <a:avLst/>
          </a:prstGeom>
          <a:solidFill>
            <a:srgbClr val="EBECED"/>
          </a:solidFill>
          <a:ln w="12700" algn="ctr">
            <a:solidFill>
              <a:schemeClr val="bg1"/>
            </a:solidFill>
            <a:miter lim="800000"/>
            <a:headEnd/>
            <a:tailEnd/>
          </a:ln>
        </p:spPr>
        <p:txBody>
          <a:bodyPr wrap="none" tIns="91440" bIns="91440" anchor="ctr"/>
          <a:lstStyle/>
          <a:p>
            <a:pPr algn="ctr">
              <a:defRPr/>
            </a:pPr>
            <a:endParaRPr lang="en-US" sz="1200" dirty="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 name="Rectangle 4">
            <a:extLst>
              <a:ext uri="{FF2B5EF4-FFF2-40B4-BE49-F238E27FC236}">
                <a16:creationId xmlns:a16="http://schemas.microsoft.com/office/drawing/2014/main" id="{9B5E2DDF-74D5-4B7F-B5D3-ADFB62B225CA}"/>
              </a:ext>
            </a:extLst>
          </p:cNvPr>
          <p:cNvSpPr>
            <a:spLocks noChangeArrowheads="1"/>
          </p:cNvSpPr>
          <p:nvPr/>
        </p:nvSpPr>
        <p:spPr bwMode="auto">
          <a:xfrm>
            <a:off x="1908175" y="5157788"/>
            <a:ext cx="8375650" cy="863600"/>
          </a:xfrm>
          <a:prstGeom prst="rect">
            <a:avLst/>
          </a:prstGeom>
          <a:solidFill>
            <a:srgbClr val="EBECED"/>
          </a:solidFill>
          <a:ln w="12700" algn="ctr">
            <a:solidFill>
              <a:schemeClr val="bg1"/>
            </a:solidFill>
            <a:miter lim="800000"/>
            <a:headEnd/>
            <a:tailEnd/>
          </a:ln>
        </p:spPr>
        <p:txBody>
          <a:bodyPr wrap="none" tIns="91440" bIns="91440" anchor="ctr"/>
          <a:lstStyle/>
          <a:p>
            <a:pPr algn="ctr">
              <a:defRPr/>
            </a:pPr>
            <a:endParaRPr lang="en-US" sz="1200" dirty="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8" name="Text Box 6">
            <a:extLst>
              <a:ext uri="{FF2B5EF4-FFF2-40B4-BE49-F238E27FC236}">
                <a16:creationId xmlns:a16="http://schemas.microsoft.com/office/drawing/2014/main" id="{7D7E5D5D-AEB3-4360-98AE-EA428F09F02D}"/>
              </a:ext>
            </a:extLst>
          </p:cNvPr>
          <p:cNvSpPr txBox="1">
            <a:spLocks noChangeArrowheads="1"/>
          </p:cNvSpPr>
          <p:nvPr/>
        </p:nvSpPr>
        <p:spPr bwMode="auto">
          <a:xfrm>
            <a:off x="1903414" y="2046289"/>
            <a:ext cx="983259" cy="279180"/>
          </a:xfrm>
          <a:prstGeom prst="rect">
            <a:avLst/>
          </a:prstGeom>
          <a:noFill/>
          <a:ln w="9525" algn="ctr">
            <a:noFill/>
            <a:miter lim="800000"/>
            <a:headEnd/>
            <a:tailEnd/>
          </a:ln>
        </p:spPr>
        <p:txBody>
          <a:bodyPr wrap="none" lIns="90000" tIns="46800" rIns="90000" bIns="46800">
            <a:spAutoFit/>
          </a:bodyPr>
          <a:lstStyle/>
          <a:p>
            <a:r>
              <a:rPr lang="en-US"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Department</a:t>
            </a:r>
          </a:p>
        </p:txBody>
      </p:sp>
      <p:sp>
        <p:nvSpPr>
          <p:cNvPr id="9" name="Rectangle 7">
            <a:extLst>
              <a:ext uri="{FF2B5EF4-FFF2-40B4-BE49-F238E27FC236}">
                <a16:creationId xmlns:a16="http://schemas.microsoft.com/office/drawing/2014/main" id="{F0B57179-E3DD-4C27-91F8-4C6009F31CDF}"/>
              </a:ext>
            </a:extLst>
          </p:cNvPr>
          <p:cNvSpPr>
            <a:spLocks noChangeArrowheads="1"/>
          </p:cNvSpPr>
          <p:nvPr/>
        </p:nvSpPr>
        <p:spPr bwMode="auto">
          <a:xfrm>
            <a:off x="3338513" y="1954214"/>
            <a:ext cx="982662"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sp>
        <p:nvSpPr>
          <p:cNvPr id="10" name="Rectangle 8">
            <a:extLst>
              <a:ext uri="{FF2B5EF4-FFF2-40B4-BE49-F238E27FC236}">
                <a16:creationId xmlns:a16="http://schemas.microsoft.com/office/drawing/2014/main" id="{C9BB7A89-80DC-4147-8B26-6AF75A1A8879}"/>
              </a:ext>
            </a:extLst>
          </p:cNvPr>
          <p:cNvSpPr>
            <a:spLocks noChangeArrowheads="1"/>
          </p:cNvSpPr>
          <p:nvPr/>
        </p:nvSpPr>
        <p:spPr bwMode="auto">
          <a:xfrm>
            <a:off x="4476751" y="1954214"/>
            <a:ext cx="982663"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1" name="Rectangle 9">
            <a:extLst>
              <a:ext uri="{FF2B5EF4-FFF2-40B4-BE49-F238E27FC236}">
                <a16:creationId xmlns:a16="http://schemas.microsoft.com/office/drawing/2014/main" id="{D4BBA20C-E60B-4143-9DEA-54B10B8E0847}"/>
              </a:ext>
            </a:extLst>
          </p:cNvPr>
          <p:cNvSpPr>
            <a:spLocks noChangeArrowheads="1"/>
          </p:cNvSpPr>
          <p:nvPr/>
        </p:nvSpPr>
        <p:spPr bwMode="auto">
          <a:xfrm>
            <a:off x="5614988" y="1954214"/>
            <a:ext cx="984250"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2" name="Rectangle 10">
            <a:extLst>
              <a:ext uri="{FF2B5EF4-FFF2-40B4-BE49-F238E27FC236}">
                <a16:creationId xmlns:a16="http://schemas.microsoft.com/office/drawing/2014/main" id="{03553ACB-67A5-4680-9042-8D1CEFA2C3D9}"/>
              </a:ext>
            </a:extLst>
          </p:cNvPr>
          <p:cNvSpPr>
            <a:spLocks noChangeArrowheads="1"/>
          </p:cNvSpPr>
          <p:nvPr/>
        </p:nvSpPr>
        <p:spPr bwMode="auto">
          <a:xfrm>
            <a:off x="6754813" y="1954214"/>
            <a:ext cx="984250"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3" name="Rectangle 11">
            <a:extLst>
              <a:ext uri="{FF2B5EF4-FFF2-40B4-BE49-F238E27FC236}">
                <a16:creationId xmlns:a16="http://schemas.microsoft.com/office/drawing/2014/main" id="{188F2610-ADC3-4744-9D02-31D0853D2DF8}"/>
              </a:ext>
            </a:extLst>
          </p:cNvPr>
          <p:cNvSpPr>
            <a:spLocks noChangeArrowheads="1"/>
          </p:cNvSpPr>
          <p:nvPr/>
        </p:nvSpPr>
        <p:spPr bwMode="auto">
          <a:xfrm>
            <a:off x="7894638" y="1954214"/>
            <a:ext cx="982662"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4" name="Rectangle 12">
            <a:extLst>
              <a:ext uri="{FF2B5EF4-FFF2-40B4-BE49-F238E27FC236}">
                <a16:creationId xmlns:a16="http://schemas.microsoft.com/office/drawing/2014/main" id="{2EC399ED-9DFB-49C2-B670-862B5C1C9DD5}"/>
              </a:ext>
            </a:extLst>
          </p:cNvPr>
          <p:cNvSpPr>
            <a:spLocks noChangeArrowheads="1"/>
          </p:cNvSpPr>
          <p:nvPr/>
        </p:nvSpPr>
        <p:spPr bwMode="auto">
          <a:xfrm>
            <a:off x="9034463" y="1954214"/>
            <a:ext cx="982662" cy="503237"/>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cxnSp>
        <p:nvCxnSpPr>
          <p:cNvPr id="15" name="AutoShape 13">
            <a:extLst>
              <a:ext uri="{FF2B5EF4-FFF2-40B4-BE49-F238E27FC236}">
                <a16:creationId xmlns:a16="http://schemas.microsoft.com/office/drawing/2014/main" id="{53EC5E27-581D-4ED7-A777-026DF5B99DAA}"/>
              </a:ext>
            </a:extLst>
          </p:cNvPr>
          <p:cNvCxnSpPr>
            <a:cxnSpLocks noChangeShapeType="1"/>
            <a:stCxn id="9" idx="3"/>
            <a:endCxn id="10" idx="1"/>
          </p:cNvCxnSpPr>
          <p:nvPr/>
        </p:nvCxnSpPr>
        <p:spPr bwMode="auto">
          <a:xfrm>
            <a:off x="4321176" y="2206625"/>
            <a:ext cx="155575" cy="1588"/>
          </a:xfrm>
          <a:prstGeom prst="straightConnector1">
            <a:avLst/>
          </a:prstGeom>
          <a:noFill/>
          <a:ln w="19050">
            <a:solidFill>
              <a:srgbClr val="333F4C"/>
            </a:solidFill>
            <a:round/>
            <a:headEnd/>
            <a:tailEnd type="triangle" w="med" len="med"/>
          </a:ln>
        </p:spPr>
      </p:cxnSp>
      <p:cxnSp>
        <p:nvCxnSpPr>
          <p:cNvPr id="16" name="AutoShape 14">
            <a:extLst>
              <a:ext uri="{FF2B5EF4-FFF2-40B4-BE49-F238E27FC236}">
                <a16:creationId xmlns:a16="http://schemas.microsoft.com/office/drawing/2014/main" id="{3194C457-9331-498D-89A7-1C748599739D}"/>
              </a:ext>
            </a:extLst>
          </p:cNvPr>
          <p:cNvCxnSpPr>
            <a:cxnSpLocks noChangeShapeType="1"/>
            <a:stCxn id="10" idx="3"/>
            <a:endCxn id="11" idx="1"/>
          </p:cNvCxnSpPr>
          <p:nvPr/>
        </p:nvCxnSpPr>
        <p:spPr bwMode="auto">
          <a:xfrm>
            <a:off x="5459414" y="2206625"/>
            <a:ext cx="155575" cy="1588"/>
          </a:xfrm>
          <a:prstGeom prst="straightConnector1">
            <a:avLst/>
          </a:prstGeom>
          <a:noFill/>
          <a:ln w="19050">
            <a:solidFill>
              <a:srgbClr val="333F4C"/>
            </a:solidFill>
            <a:round/>
            <a:headEnd/>
            <a:tailEnd type="triangle" w="med" len="med"/>
          </a:ln>
        </p:spPr>
      </p:cxnSp>
      <p:cxnSp>
        <p:nvCxnSpPr>
          <p:cNvPr id="17" name="AutoShape 15">
            <a:extLst>
              <a:ext uri="{FF2B5EF4-FFF2-40B4-BE49-F238E27FC236}">
                <a16:creationId xmlns:a16="http://schemas.microsoft.com/office/drawing/2014/main" id="{36E1B1F2-506D-4717-ADDA-BCA8049DA499}"/>
              </a:ext>
            </a:extLst>
          </p:cNvPr>
          <p:cNvCxnSpPr>
            <a:cxnSpLocks noChangeShapeType="1"/>
            <a:stCxn id="11" idx="3"/>
            <a:endCxn id="12" idx="1"/>
          </p:cNvCxnSpPr>
          <p:nvPr/>
        </p:nvCxnSpPr>
        <p:spPr bwMode="auto">
          <a:xfrm>
            <a:off x="6599239" y="2206625"/>
            <a:ext cx="155575" cy="1588"/>
          </a:xfrm>
          <a:prstGeom prst="straightConnector1">
            <a:avLst/>
          </a:prstGeom>
          <a:noFill/>
          <a:ln w="19050">
            <a:solidFill>
              <a:srgbClr val="333F4C"/>
            </a:solidFill>
            <a:round/>
            <a:headEnd/>
            <a:tailEnd type="triangle" w="med" len="med"/>
          </a:ln>
        </p:spPr>
      </p:cxnSp>
      <p:cxnSp>
        <p:nvCxnSpPr>
          <p:cNvPr id="18" name="AutoShape 16">
            <a:extLst>
              <a:ext uri="{FF2B5EF4-FFF2-40B4-BE49-F238E27FC236}">
                <a16:creationId xmlns:a16="http://schemas.microsoft.com/office/drawing/2014/main" id="{F1662AB3-3822-4841-91B3-4871732EDCB1}"/>
              </a:ext>
            </a:extLst>
          </p:cNvPr>
          <p:cNvCxnSpPr>
            <a:cxnSpLocks noChangeShapeType="1"/>
            <a:stCxn id="12" idx="3"/>
            <a:endCxn id="13" idx="1"/>
          </p:cNvCxnSpPr>
          <p:nvPr/>
        </p:nvCxnSpPr>
        <p:spPr bwMode="auto">
          <a:xfrm>
            <a:off x="7739064" y="2206625"/>
            <a:ext cx="155575" cy="1588"/>
          </a:xfrm>
          <a:prstGeom prst="straightConnector1">
            <a:avLst/>
          </a:prstGeom>
          <a:noFill/>
          <a:ln w="19050">
            <a:solidFill>
              <a:srgbClr val="333F4C"/>
            </a:solidFill>
            <a:round/>
            <a:headEnd/>
            <a:tailEnd type="triangle" w="med" len="med"/>
          </a:ln>
        </p:spPr>
      </p:cxnSp>
      <p:cxnSp>
        <p:nvCxnSpPr>
          <p:cNvPr id="20" name="AutoShape 17">
            <a:extLst>
              <a:ext uri="{FF2B5EF4-FFF2-40B4-BE49-F238E27FC236}">
                <a16:creationId xmlns:a16="http://schemas.microsoft.com/office/drawing/2014/main" id="{51C0D0E6-7A71-4771-B0FE-E948D896D7A4}"/>
              </a:ext>
            </a:extLst>
          </p:cNvPr>
          <p:cNvCxnSpPr>
            <a:cxnSpLocks noChangeShapeType="1"/>
            <a:stCxn id="13" idx="3"/>
            <a:endCxn id="14" idx="1"/>
          </p:cNvCxnSpPr>
          <p:nvPr/>
        </p:nvCxnSpPr>
        <p:spPr bwMode="auto">
          <a:xfrm>
            <a:off x="8877301" y="2206625"/>
            <a:ext cx="157163" cy="1588"/>
          </a:xfrm>
          <a:prstGeom prst="straightConnector1">
            <a:avLst/>
          </a:prstGeom>
          <a:noFill/>
          <a:ln w="19050">
            <a:solidFill>
              <a:srgbClr val="333F4C"/>
            </a:solidFill>
            <a:round/>
            <a:headEnd/>
            <a:tailEnd type="triangle" w="med" len="med"/>
          </a:ln>
        </p:spPr>
      </p:cxnSp>
      <p:sp>
        <p:nvSpPr>
          <p:cNvPr id="21" name="Text Box 18">
            <a:extLst>
              <a:ext uri="{FF2B5EF4-FFF2-40B4-BE49-F238E27FC236}">
                <a16:creationId xmlns:a16="http://schemas.microsoft.com/office/drawing/2014/main" id="{8246DBA0-D030-40C2-B403-118785CDEF6A}"/>
              </a:ext>
            </a:extLst>
          </p:cNvPr>
          <p:cNvSpPr txBox="1">
            <a:spLocks noChangeArrowheads="1"/>
          </p:cNvSpPr>
          <p:nvPr/>
        </p:nvSpPr>
        <p:spPr bwMode="auto">
          <a:xfrm>
            <a:off x="1903414" y="2892426"/>
            <a:ext cx="983259" cy="279180"/>
          </a:xfrm>
          <a:prstGeom prst="rect">
            <a:avLst/>
          </a:prstGeom>
          <a:noFill/>
          <a:ln w="9525" algn="ctr">
            <a:noFill/>
            <a:miter lim="800000"/>
            <a:headEnd/>
            <a:tailEnd/>
          </a:ln>
        </p:spPr>
        <p:txBody>
          <a:bodyPr wrap="none" lIns="90000" tIns="46800" rIns="90000" bIns="46800">
            <a:spAutoFit/>
          </a:bodyPr>
          <a:lstStyle/>
          <a:p>
            <a:r>
              <a:rPr lang="en-US"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Department</a:t>
            </a:r>
          </a:p>
        </p:txBody>
      </p:sp>
      <p:sp>
        <p:nvSpPr>
          <p:cNvPr id="22" name="Rectangle 19">
            <a:extLst>
              <a:ext uri="{FF2B5EF4-FFF2-40B4-BE49-F238E27FC236}">
                <a16:creationId xmlns:a16="http://schemas.microsoft.com/office/drawing/2014/main" id="{141A824B-6460-4739-99A3-9BB770971806}"/>
              </a:ext>
            </a:extLst>
          </p:cNvPr>
          <p:cNvSpPr>
            <a:spLocks noChangeArrowheads="1"/>
          </p:cNvSpPr>
          <p:nvPr/>
        </p:nvSpPr>
        <p:spPr bwMode="auto">
          <a:xfrm>
            <a:off x="3338513" y="2800350"/>
            <a:ext cx="982662"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sp>
        <p:nvSpPr>
          <p:cNvPr id="23" name="Rectangle 20">
            <a:extLst>
              <a:ext uri="{FF2B5EF4-FFF2-40B4-BE49-F238E27FC236}">
                <a16:creationId xmlns:a16="http://schemas.microsoft.com/office/drawing/2014/main" id="{621E324F-BB38-4D29-A688-9738EF18B870}"/>
              </a:ext>
            </a:extLst>
          </p:cNvPr>
          <p:cNvSpPr>
            <a:spLocks noChangeArrowheads="1"/>
          </p:cNvSpPr>
          <p:nvPr/>
        </p:nvSpPr>
        <p:spPr bwMode="auto">
          <a:xfrm>
            <a:off x="4476751" y="2800350"/>
            <a:ext cx="982663"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sp>
        <p:nvSpPr>
          <p:cNvPr id="24" name="Rectangle 21">
            <a:extLst>
              <a:ext uri="{FF2B5EF4-FFF2-40B4-BE49-F238E27FC236}">
                <a16:creationId xmlns:a16="http://schemas.microsoft.com/office/drawing/2014/main" id="{0CFBE23C-67F8-4852-BC96-5E02D35AD030}"/>
              </a:ext>
            </a:extLst>
          </p:cNvPr>
          <p:cNvSpPr>
            <a:spLocks noChangeArrowheads="1"/>
          </p:cNvSpPr>
          <p:nvPr/>
        </p:nvSpPr>
        <p:spPr bwMode="auto">
          <a:xfrm>
            <a:off x="5614988" y="2800350"/>
            <a:ext cx="984250"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5" name="Rectangle 22">
            <a:extLst>
              <a:ext uri="{FF2B5EF4-FFF2-40B4-BE49-F238E27FC236}">
                <a16:creationId xmlns:a16="http://schemas.microsoft.com/office/drawing/2014/main" id="{993DAE9D-8553-453E-8F4E-81964FB9D5FC}"/>
              </a:ext>
            </a:extLst>
          </p:cNvPr>
          <p:cNvSpPr>
            <a:spLocks noChangeArrowheads="1"/>
          </p:cNvSpPr>
          <p:nvPr/>
        </p:nvSpPr>
        <p:spPr bwMode="auto">
          <a:xfrm>
            <a:off x="6754813" y="2800350"/>
            <a:ext cx="984250"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6" name="Rectangle 23">
            <a:extLst>
              <a:ext uri="{FF2B5EF4-FFF2-40B4-BE49-F238E27FC236}">
                <a16:creationId xmlns:a16="http://schemas.microsoft.com/office/drawing/2014/main" id="{5263D867-F9DC-4857-BFFD-5ADC2259FC2C}"/>
              </a:ext>
            </a:extLst>
          </p:cNvPr>
          <p:cNvSpPr>
            <a:spLocks noChangeArrowheads="1"/>
          </p:cNvSpPr>
          <p:nvPr/>
        </p:nvSpPr>
        <p:spPr bwMode="auto">
          <a:xfrm>
            <a:off x="7894638" y="2800350"/>
            <a:ext cx="982662"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7" name="Rectangle 24">
            <a:extLst>
              <a:ext uri="{FF2B5EF4-FFF2-40B4-BE49-F238E27FC236}">
                <a16:creationId xmlns:a16="http://schemas.microsoft.com/office/drawing/2014/main" id="{3D42D957-5EBA-4E6E-8637-49AF96FE5A5E}"/>
              </a:ext>
            </a:extLst>
          </p:cNvPr>
          <p:cNvSpPr>
            <a:spLocks noChangeArrowheads="1"/>
          </p:cNvSpPr>
          <p:nvPr/>
        </p:nvSpPr>
        <p:spPr bwMode="auto">
          <a:xfrm>
            <a:off x="9034463" y="2800350"/>
            <a:ext cx="982662" cy="503238"/>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cxnSp>
        <p:nvCxnSpPr>
          <p:cNvPr id="28" name="AutoShape 25">
            <a:extLst>
              <a:ext uri="{FF2B5EF4-FFF2-40B4-BE49-F238E27FC236}">
                <a16:creationId xmlns:a16="http://schemas.microsoft.com/office/drawing/2014/main" id="{97CF0219-858B-4B2D-B066-619C1C70BC6F}"/>
              </a:ext>
            </a:extLst>
          </p:cNvPr>
          <p:cNvCxnSpPr>
            <a:cxnSpLocks noChangeShapeType="1"/>
            <a:stCxn id="22" idx="3"/>
            <a:endCxn id="23" idx="1"/>
          </p:cNvCxnSpPr>
          <p:nvPr/>
        </p:nvCxnSpPr>
        <p:spPr bwMode="auto">
          <a:xfrm>
            <a:off x="4321176" y="3052764"/>
            <a:ext cx="155575" cy="1587"/>
          </a:xfrm>
          <a:prstGeom prst="straightConnector1">
            <a:avLst/>
          </a:prstGeom>
          <a:noFill/>
          <a:ln w="19050">
            <a:solidFill>
              <a:srgbClr val="333F4C"/>
            </a:solidFill>
            <a:round/>
            <a:headEnd/>
            <a:tailEnd type="triangle" w="med" len="med"/>
          </a:ln>
        </p:spPr>
      </p:cxnSp>
      <p:cxnSp>
        <p:nvCxnSpPr>
          <p:cNvPr id="29" name="AutoShape 26">
            <a:extLst>
              <a:ext uri="{FF2B5EF4-FFF2-40B4-BE49-F238E27FC236}">
                <a16:creationId xmlns:a16="http://schemas.microsoft.com/office/drawing/2014/main" id="{26FD8A69-3771-47BB-852D-736DC657C126}"/>
              </a:ext>
            </a:extLst>
          </p:cNvPr>
          <p:cNvCxnSpPr>
            <a:cxnSpLocks noChangeShapeType="1"/>
            <a:stCxn id="23" idx="3"/>
            <a:endCxn id="24" idx="1"/>
          </p:cNvCxnSpPr>
          <p:nvPr/>
        </p:nvCxnSpPr>
        <p:spPr bwMode="auto">
          <a:xfrm>
            <a:off x="5459414" y="3052764"/>
            <a:ext cx="155575" cy="1587"/>
          </a:xfrm>
          <a:prstGeom prst="straightConnector1">
            <a:avLst/>
          </a:prstGeom>
          <a:noFill/>
          <a:ln w="19050">
            <a:solidFill>
              <a:srgbClr val="333F4C"/>
            </a:solidFill>
            <a:round/>
            <a:headEnd/>
            <a:tailEnd type="triangle" w="med" len="med"/>
          </a:ln>
        </p:spPr>
      </p:cxnSp>
      <p:cxnSp>
        <p:nvCxnSpPr>
          <p:cNvPr id="30" name="AutoShape 27">
            <a:extLst>
              <a:ext uri="{FF2B5EF4-FFF2-40B4-BE49-F238E27FC236}">
                <a16:creationId xmlns:a16="http://schemas.microsoft.com/office/drawing/2014/main" id="{756972E5-F1D3-48A0-89B9-0BB42105EF5B}"/>
              </a:ext>
            </a:extLst>
          </p:cNvPr>
          <p:cNvCxnSpPr>
            <a:cxnSpLocks noChangeShapeType="1"/>
            <a:stCxn id="24" idx="3"/>
            <a:endCxn id="25" idx="1"/>
          </p:cNvCxnSpPr>
          <p:nvPr/>
        </p:nvCxnSpPr>
        <p:spPr bwMode="auto">
          <a:xfrm>
            <a:off x="6599239" y="3052764"/>
            <a:ext cx="155575" cy="1587"/>
          </a:xfrm>
          <a:prstGeom prst="straightConnector1">
            <a:avLst/>
          </a:prstGeom>
          <a:noFill/>
          <a:ln w="19050">
            <a:solidFill>
              <a:srgbClr val="333F4C"/>
            </a:solidFill>
            <a:round/>
            <a:headEnd/>
            <a:tailEnd type="triangle" w="med" len="med"/>
          </a:ln>
        </p:spPr>
      </p:cxnSp>
      <p:cxnSp>
        <p:nvCxnSpPr>
          <p:cNvPr id="31" name="AutoShape 28">
            <a:extLst>
              <a:ext uri="{FF2B5EF4-FFF2-40B4-BE49-F238E27FC236}">
                <a16:creationId xmlns:a16="http://schemas.microsoft.com/office/drawing/2014/main" id="{4D0DCAD0-E479-4B1D-8F00-4B439711E792}"/>
              </a:ext>
            </a:extLst>
          </p:cNvPr>
          <p:cNvCxnSpPr>
            <a:cxnSpLocks noChangeShapeType="1"/>
            <a:stCxn id="25" idx="3"/>
            <a:endCxn id="26" idx="1"/>
          </p:cNvCxnSpPr>
          <p:nvPr/>
        </p:nvCxnSpPr>
        <p:spPr bwMode="auto">
          <a:xfrm>
            <a:off x="7739064" y="3052764"/>
            <a:ext cx="155575" cy="1587"/>
          </a:xfrm>
          <a:prstGeom prst="straightConnector1">
            <a:avLst/>
          </a:prstGeom>
          <a:noFill/>
          <a:ln w="19050">
            <a:solidFill>
              <a:srgbClr val="333F4C"/>
            </a:solidFill>
            <a:round/>
            <a:headEnd/>
            <a:tailEnd type="triangle" w="med" len="med"/>
          </a:ln>
        </p:spPr>
      </p:cxnSp>
      <p:cxnSp>
        <p:nvCxnSpPr>
          <p:cNvPr id="32" name="AutoShape 29">
            <a:extLst>
              <a:ext uri="{FF2B5EF4-FFF2-40B4-BE49-F238E27FC236}">
                <a16:creationId xmlns:a16="http://schemas.microsoft.com/office/drawing/2014/main" id="{85635FDB-1A5F-4E99-8A28-AEB5714BA863}"/>
              </a:ext>
            </a:extLst>
          </p:cNvPr>
          <p:cNvCxnSpPr>
            <a:cxnSpLocks noChangeShapeType="1"/>
            <a:stCxn id="26" idx="3"/>
            <a:endCxn id="27" idx="1"/>
          </p:cNvCxnSpPr>
          <p:nvPr/>
        </p:nvCxnSpPr>
        <p:spPr bwMode="auto">
          <a:xfrm>
            <a:off x="8877301" y="3052764"/>
            <a:ext cx="157163" cy="1587"/>
          </a:xfrm>
          <a:prstGeom prst="straightConnector1">
            <a:avLst/>
          </a:prstGeom>
          <a:noFill/>
          <a:ln w="19050">
            <a:solidFill>
              <a:srgbClr val="333F4C"/>
            </a:solidFill>
            <a:round/>
            <a:headEnd/>
            <a:tailEnd type="triangle" w="med" len="med"/>
          </a:ln>
        </p:spPr>
      </p:cxnSp>
      <p:sp>
        <p:nvSpPr>
          <p:cNvPr id="33" name="Text Box 30">
            <a:extLst>
              <a:ext uri="{FF2B5EF4-FFF2-40B4-BE49-F238E27FC236}">
                <a16:creationId xmlns:a16="http://schemas.microsoft.com/office/drawing/2014/main" id="{BD6AF96C-B000-48A2-B97A-05F84CA4246A}"/>
              </a:ext>
            </a:extLst>
          </p:cNvPr>
          <p:cNvSpPr txBox="1">
            <a:spLocks noChangeArrowheads="1"/>
          </p:cNvSpPr>
          <p:nvPr/>
        </p:nvSpPr>
        <p:spPr bwMode="auto">
          <a:xfrm>
            <a:off x="1903414" y="3738564"/>
            <a:ext cx="983259" cy="279180"/>
          </a:xfrm>
          <a:prstGeom prst="rect">
            <a:avLst/>
          </a:prstGeom>
          <a:noFill/>
          <a:ln w="9525" algn="ctr">
            <a:noFill/>
            <a:miter lim="800000"/>
            <a:headEnd/>
            <a:tailEnd/>
          </a:ln>
        </p:spPr>
        <p:txBody>
          <a:bodyPr wrap="none" lIns="90000" tIns="46800" rIns="90000" bIns="46800">
            <a:spAutoFit/>
          </a:bodyPr>
          <a:lstStyle/>
          <a:p>
            <a:r>
              <a:rPr lang="en-US" sz="1200" b="1">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Department</a:t>
            </a:r>
          </a:p>
        </p:txBody>
      </p:sp>
      <p:sp>
        <p:nvSpPr>
          <p:cNvPr id="34" name="Text Box 42">
            <a:extLst>
              <a:ext uri="{FF2B5EF4-FFF2-40B4-BE49-F238E27FC236}">
                <a16:creationId xmlns:a16="http://schemas.microsoft.com/office/drawing/2014/main" id="{DE8CAAE9-4352-497F-B582-DEBC02B41DC0}"/>
              </a:ext>
            </a:extLst>
          </p:cNvPr>
          <p:cNvSpPr txBox="1">
            <a:spLocks noChangeArrowheads="1"/>
          </p:cNvSpPr>
          <p:nvPr/>
        </p:nvSpPr>
        <p:spPr bwMode="auto">
          <a:xfrm>
            <a:off x="1903414" y="4584701"/>
            <a:ext cx="983259" cy="279180"/>
          </a:xfrm>
          <a:prstGeom prst="rect">
            <a:avLst/>
          </a:prstGeom>
          <a:noFill/>
          <a:ln w="9525" algn="ctr">
            <a:noFill/>
            <a:miter lim="800000"/>
            <a:headEnd/>
            <a:tailEnd/>
          </a:ln>
        </p:spPr>
        <p:txBody>
          <a:bodyPr wrap="none" lIns="90000" tIns="46800" rIns="90000" bIns="46800">
            <a:spAutoFit/>
          </a:bodyPr>
          <a:lstStyle/>
          <a:p>
            <a:r>
              <a:rPr lang="en-US" sz="1200" b="1">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Department</a:t>
            </a:r>
          </a:p>
        </p:txBody>
      </p:sp>
      <p:sp>
        <p:nvSpPr>
          <p:cNvPr id="35" name="Text Box 54">
            <a:extLst>
              <a:ext uri="{FF2B5EF4-FFF2-40B4-BE49-F238E27FC236}">
                <a16:creationId xmlns:a16="http://schemas.microsoft.com/office/drawing/2014/main" id="{DCCE6080-0FA6-45B6-8C61-D3D8A51B9796}"/>
              </a:ext>
            </a:extLst>
          </p:cNvPr>
          <p:cNvSpPr txBox="1">
            <a:spLocks noChangeArrowheads="1"/>
          </p:cNvSpPr>
          <p:nvPr/>
        </p:nvSpPr>
        <p:spPr bwMode="auto">
          <a:xfrm>
            <a:off x="1903414" y="5430839"/>
            <a:ext cx="983259" cy="279180"/>
          </a:xfrm>
          <a:prstGeom prst="rect">
            <a:avLst/>
          </a:prstGeom>
          <a:noFill/>
          <a:ln w="9525" algn="ctr">
            <a:noFill/>
            <a:miter lim="800000"/>
            <a:headEnd/>
            <a:tailEnd/>
          </a:ln>
        </p:spPr>
        <p:txBody>
          <a:bodyPr wrap="none" lIns="90000" tIns="46800" rIns="90000" bIns="46800">
            <a:spAutoFit/>
          </a:bodyPr>
          <a:lstStyle/>
          <a:p>
            <a:r>
              <a:rPr lang="en-US" sz="1200" b="1">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Department</a:t>
            </a:r>
          </a:p>
        </p:txBody>
      </p:sp>
      <p:cxnSp>
        <p:nvCxnSpPr>
          <p:cNvPr id="36" name="AutoShape 66">
            <a:extLst>
              <a:ext uri="{FF2B5EF4-FFF2-40B4-BE49-F238E27FC236}">
                <a16:creationId xmlns:a16="http://schemas.microsoft.com/office/drawing/2014/main" id="{A2519368-FE48-42FF-BA52-5DA2D71EDBCF}"/>
              </a:ext>
            </a:extLst>
          </p:cNvPr>
          <p:cNvCxnSpPr>
            <a:cxnSpLocks noChangeShapeType="1"/>
            <a:stCxn id="9" idx="2"/>
            <a:endCxn id="23" idx="0"/>
          </p:cNvCxnSpPr>
          <p:nvPr/>
        </p:nvCxnSpPr>
        <p:spPr bwMode="auto">
          <a:xfrm rot="16200000" flipH="1">
            <a:off x="4227513" y="2058988"/>
            <a:ext cx="342900" cy="1139825"/>
          </a:xfrm>
          <a:prstGeom prst="bentConnector3">
            <a:avLst>
              <a:gd name="adj1" fmla="val 62403"/>
            </a:avLst>
          </a:prstGeom>
          <a:noFill/>
          <a:ln w="19050">
            <a:solidFill>
              <a:srgbClr val="333F4C"/>
            </a:solidFill>
            <a:miter lim="800000"/>
            <a:headEnd/>
            <a:tailEnd type="triangle" w="med" len="med"/>
          </a:ln>
        </p:spPr>
      </p:cxnSp>
      <p:cxnSp>
        <p:nvCxnSpPr>
          <p:cNvPr id="37" name="AutoShape 67">
            <a:extLst>
              <a:ext uri="{FF2B5EF4-FFF2-40B4-BE49-F238E27FC236}">
                <a16:creationId xmlns:a16="http://schemas.microsoft.com/office/drawing/2014/main" id="{072287F5-E538-4D47-B23D-5ABFB9A9F721}"/>
              </a:ext>
            </a:extLst>
          </p:cNvPr>
          <p:cNvCxnSpPr>
            <a:cxnSpLocks noChangeShapeType="1"/>
            <a:stCxn id="24" idx="0"/>
            <a:endCxn id="11" idx="2"/>
          </p:cNvCxnSpPr>
          <p:nvPr/>
        </p:nvCxnSpPr>
        <p:spPr bwMode="auto">
          <a:xfrm rot="5400000" flipH="1" flipV="1">
            <a:off x="5934869" y="2629694"/>
            <a:ext cx="342900" cy="1588"/>
          </a:xfrm>
          <a:prstGeom prst="straightConnector1">
            <a:avLst/>
          </a:prstGeom>
          <a:noFill/>
          <a:ln w="19050">
            <a:solidFill>
              <a:srgbClr val="333F4C"/>
            </a:solidFill>
            <a:round/>
            <a:headEnd/>
            <a:tailEnd type="triangle" w="med" len="med"/>
          </a:ln>
        </p:spPr>
      </p:cxnSp>
      <p:cxnSp>
        <p:nvCxnSpPr>
          <p:cNvPr id="38" name="AutoShape 68">
            <a:extLst>
              <a:ext uri="{FF2B5EF4-FFF2-40B4-BE49-F238E27FC236}">
                <a16:creationId xmlns:a16="http://schemas.microsoft.com/office/drawing/2014/main" id="{5C37E3D7-865B-4C19-914C-11B5A09A7384}"/>
              </a:ext>
            </a:extLst>
          </p:cNvPr>
          <p:cNvCxnSpPr>
            <a:cxnSpLocks noChangeShapeType="1"/>
            <a:stCxn id="25" idx="2"/>
            <a:endCxn id="44" idx="0"/>
          </p:cNvCxnSpPr>
          <p:nvPr/>
        </p:nvCxnSpPr>
        <p:spPr bwMode="auto">
          <a:xfrm rot="16200000" flipH="1">
            <a:off x="8216108" y="2334420"/>
            <a:ext cx="344487" cy="2282825"/>
          </a:xfrm>
          <a:prstGeom prst="bentConnector3">
            <a:avLst>
              <a:gd name="adj1" fmla="val 22242"/>
            </a:avLst>
          </a:prstGeom>
          <a:noFill/>
          <a:ln w="19050">
            <a:solidFill>
              <a:srgbClr val="333F4C"/>
            </a:solidFill>
            <a:miter lim="800000"/>
            <a:headEnd/>
            <a:tailEnd type="triangle" w="med" len="med"/>
          </a:ln>
        </p:spPr>
      </p:cxnSp>
      <p:sp>
        <p:nvSpPr>
          <p:cNvPr id="39" name="Rectangle 100">
            <a:extLst>
              <a:ext uri="{FF2B5EF4-FFF2-40B4-BE49-F238E27FC236}">
                <a16:creationId xmlns:a16="http://schemas.microsoft.com/office/drawing/2014/main" id="{4B046AD0-1E47-41FD-9A55-F68DF1BFAD25}"/>
              </a:ext>
            </a:extLst>
          </p:cNvPr>
          <p:cNvSpPr>
            <a:spLocks noChangeArrowheads="1"/>
          </p:cNvSpPr>
          <p:nvPr/>
        </p:nvSpPr>
        <p:spPr bwMode="auto">
          <a:xfrm>
            <a:off x="3341688" y="36480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sp>
        <p:nvSpPr>
          <p:cNvPr id="40" name="Rectangle 101">
            <a:extLst>
              <a:ext uri="{FF2B5EF4-FFF2-40B4-BE49-F238E27FC236}">
                <a16:creationId xmlns:a16="http://schemas.microsoft.com/office/drawing/2014/main" id="{5DDB32EF-8578-4FBA-A9A6-4B0FD6CF6B02}"/>
              </a:ext>
            </a:extLst>
          </p:cNvPr>
          <p:cNvSpPr>
            <a:spLocks noChangeArrowheads="1"/>
          </p:cNvSpPr>
          <p:nvPr/>
        </p:nvSpPr>
        <p:spPr bwMode="auto">
          <a:xfrm>
            <a:off x="4479926" y="3648075"/>
            <a:ext cx="982663"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1" name="Rectangle 102">
            <a:extLst>
              <a:ext uri="{FF2B5EF4-FFF2-40B4-BE49-F238E27FC236}">
                <a16:creationId xmlns:a16="http://schemas.microsoft.com/office/drawing/2014/main" id="{529791FA-C18A-420B-B07F-FA3D135CFC43}"/>
              </a:ext>
            </a:extLst>
          </p:cNvPr>
          <p:cNvSpPr>
            <a:spLocks noChangeArrowheads="1"/>
          </p:cNvSpPr>
          <p:nvPr/>
        </p:nvSpPr>
        <p:spPr bwMode="auto">
          <a:xfrm>
            <a:off x="5618163" y="3648075"/>
            <a:ext cx="984250"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2" name="Rectangle 103">
            <a:extLst>
              <a:ext uri="{FF2B5EF4-FFF2-40B4-BE49-F238E27FC236}">
                <a16:creationId xmlns:a16="http://schemas.microsoft.com/office/drawing/2014/main" id="{E0DB580F-C14F-49BD-BEF6-C8E908AAB409}"/>
              </a:ext>
            </a:extLst>
          </p:cNvPr>
          <p:cNvSpPr>
            <a:spLocks noChangeArrowheads="1"/>
          </p:cNvSpPr>
          <p:nvPr/>
        </p:nvSpPr>
        <p:spPr bwMode="auto">
          <a:xfrm>
            <a:off x="6757988" y="3648075"/>
            <a:ext cx="984250"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3" name="Rectangle 104">
            <a:extLst>
              <a:ext uri="{FF2B5EF4-FFF2-40B4-BE49-F238E27FC236}">
                <a16:creationId xmlns:a16="http://schemas.microsoft.com/office/drawing/2014/main" id="{1DA60758-0322-4B0F-86F7-DB5789A24943}"/>
              </a:ext>
            </a:extLst>
          </p:cNvPr>
          <p:cNvSpPr>
            <a:spLocks noChangeArrowheads="1"/>
          </p:cNvSpPr>
          <p:nvPr/>
        </p:nvSpPr>
        <p:spPr bwMode="auto">
          <a:xfrm>
            <a:off x="7897813" y="36480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4" name="Rectangle 105">
            <a:extLst>
              <a:ext uri="{FF2B5EF4-FFF2-40B4-BE49-F238E27FC236}">
                <a16:creationId xmlns:a16="http://schemas.microsoft.com/office/drawing/2014/main" id="{3A7A0C5F-EEA7-419B-8A0B-1ED239489095}"/>
              </a:ext>
            </a:extLst>
          </p:cNvPr>
          <p:cNvSpPr>
            <a:spLocks noChangeArrowheads="1"/>
          </p:cNvSpPr>
          <p:nvPr/>
        </p:nvSpPr>
        <p:spPr bwMode="auto">
          <a:xfrm>
            <a:off x="9037638" y="36480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cxnSp>
        <p:nvCxnSpPr>
          <p:cNvPr id="45" name="AutoShape 13">
            <a:extLst>
              <a:ext uri="{FF2B5EF4-FFF2-40B4-BE49-F238E27FC236}">
                <a16:creationId xmlns:a16="http://schemas.microsoft.com/office/drawing/2014/main" id="{5B36B2CA-B163-4FEB-B4E8-B45F47C13E60}"/>
              </a:ext>
            </a:extLst>
          </p:cNvPr>
          <p:cNvCxnSpPr>
            <a:cxnSpLocks noChangeShapeType="1"/>
            <a:stCxn id="39" idx="3"/>
            <a:endCxn id="40" idx="1"/>
          </p:cNvCxnSpPr>
          <p:nvPr/>
        </p:nvCxnSpPr>
        <p:spPr bwMode="auto">
          <a:xfrm>
            <a:off x="4324351" y="3900489"/>
            <a:ext cx="155575" cy="1587"/>
          </a:xfrm>
          <a:prstGeom prst="straightConnector1">
            <a:avLst/>
          </a:prstGeom>
          <a:noFill/>
          <a:ln w="19050">
            <a:solidFill>
              <a:srgbClr val="333F4C"/>
            </a:solidFill>
            <a:round/>
            <a:headEnd/>
            <a:tailEnd type="triangle" w="med" len="med"/>
          </a:ln>
        </p:spPr>
      </p:cxnSp>
      <p:cxnSp>
        <p:nvCxnSpPr>
          <p:cNvPr id="46" name="AutoShape 14">
            <a:extLst>
              <a:ext uri="{FF2B5EF4-FFF2-40B4-BE49-F238E27FC236}">
                <a16:creationId xmlns:a16="http://schemas.microsoft.com/office/drawing/2014/main" id="{043EC42B-443C-47AD-B238-43C6A79B1E77}"/>
              </a:ext>
            </a:extLst>
          </p:cNvPr>
          <p:cNvCxnSpPr>
            <a:cxnSpLocks noChangeShapeType="1"/>
            <a:stCxn id="40" idx="3"/>
            <a:endCxn id="41" idx="1"/>
          </p:cNvCxnSpPr>
          <p:nvPr/>
        </p:nvCxnSpPr>
        <p:spPr bwMode="auto">
          <a:xfrm>
            <a:off x="5462589" y="3900489"/>
            <a:ext cx="155575" cy="1587"/>
          </a:xfrm>
          <a:prstGeom prst="straightConnector1">
            <a:avLst/>
          </a:prstGeom>
          <a:noFill/>
          <a:ln w="19050">
            <a:solidFill>
              <a:srgbClr val="333F4C"/>
            </a:solidFill>
            <a:round/>
            <a:headEnd/>
            <a:tailEnd type="triangle" w="med" len="med"/>
          </a:ln>
        </p:spPr>
      </p:cxnSp>
      <p:cxnSp>
        <p:nvCxnSpPr>
          <p:cNvPr id="47" name="AutoShape 15">
            <a:extLst>
              <a:ext uri="{FF2B5EF4-FFF2-40B4-BE49-F238E27FC236}">
                <a16:creationId xmlns:a16="http://schemas.microsoft.com/office/drawing/2014/main" id="{A8616559-66A0-45FB-966C-290874771F0B}"/>
              </a:ext>
            </a:extLst>
          </p:cNvPr>
          <p:cNvCxnSpPr>
            <a:cxnSpLocks noChangeShapeType="1"/>
            <a:stCxn id="41" idx="3"/>
            <a:endCxn id="42" idx="1"/>
          </p:cNvCxnSpPr>
          <p:nvPr/>
        </p:nvCxnSpPr>
        <p:spPr bwMode="auto">
          <a:xfrm>
            <a:off x="6602414" y="3900489"/>
            <a:ext cx="155575" cy="1587"/>
          </a:xfrm>
          <a:prstGeom prst="straightConnector1">
            <a:avLst/>
          </a:prstGeom>
          <a:noFill/>
          <a:ln w="19050">
            <a:solidFill>
              <a:srgbClr val="333F4C"/>
            </a:solidFill>
            <a:round/>
            <a:headEnd/>
            <a:tailEnd type="triangle" w="med" len="med"/>
          </a:ln>
        </p:spPr>
      </p:cxnSp>
      <p:cxnSp>
        <p:nvCxnSpPr>
          <p:cNvPr id="48" name="AutoShape 16">
            <a:extLst>
              <a:ext uri="{FF2B5EF4-FFF2-40B4-BE49-F238E27FC236}">
                <a16:creationId xmlns:a16="http://schemas.microsoft.com/office/drawing/2014/main" id="{DB46BBAE-D8FE-43E8-BDB3-A4911DE32893}"/>
              </a:ext>
            </a:extLst>
          </p:cNvPr>
          <p:cNvCxnSpPr>
            <a:cxnSpLocks noChangeShapeType="1"/>
            <a:stCxn id="42" idx="3"/>
            <a:endCxn id="43" idx="1"/>
          </p:cNvCxnSpPr>
          <p:nvPr/>
        </p:nvCxnSpPr>
        <p:spPr bwMode="auto">
          <a:xfrm>
            <a:off x="7742239" y="3900489"/>
            <a:ext cx="155575" cy="1587"/>
          </a:xfrm>
          <a:prstGeom prst="straightConnector1">
            <a:avLst/>
          </a:prstGeom>
          <a:noFill/>
          <a:ln w="19050">
            <a:solidFill>
              <a:srgbClr val="333F4C"/>
            </a:solidFill>
            <a:round/>
            <a:headEnd/>
            <a:tailEnd type="triangle" w="med" len="med"/>
          </a:ln>
        </p:spPr>
      </p:cxnSp>
      <p:cxnSp>
        <p:nvCxnSpPr>
          <p:cNvPr id="49" name="AutoShape 17">
            <a:extLst>
              <a:ext uri="{FF2B5EF4-FFF2-40B4-BE49-F238E27FC236}">
                <a16:creationId xmlns:a16="http://schemas.microsoft.com/office/drawing/2014/main" id="{82BC76B6-4ED6-4AE2-80A9-290FEA2212E1}"/>
              </a:ext>
            </a:extLst>
          </p:cNvPr>
          <p:cNvCxnSpPr>
            <a:cxnSpLocks noChangeShapeType="1"/>
            <a:stCxn id="43" idx="3"/>
            <a:endCxn id="44" idx="1"/>
          </p:cNvCxnSpPr>
          <p:nvPr/>
        </p:nvCxnSpPr>
        <p:spPr bwMode="auto">
          <a:xfrm>
            <a:off x="8880476" y="3900489"/>
            <a:ext cx="157163" cy="1587"/>
          </a:xfrm>
          <a:prstGeom prst="straightConnector1">
            <a:avLst/>
          </a:prstGeom>
          <a:noFill/>
          <a:ln w="19050">
            <a:solidFill>
              <a:srgbClr val="333F4C"/>
            </a:solidFill>
            <a:round/>
            <a:headEnd/>
            <a:tailEnd type="triangle" w="med" len="med"/>
          </a:ln>
        </p:spPr>
      </p:cxnSp>
      <p:sp>
        <p:nvSpPr>
          <p:cNvPr id="50" name="Rectangle 114">
            <a:extLst>
              <a:ext uri="{FF2B5EF4-FFF2-40B4-BE49-F238E27FC236}">
                <a16:creationId xmlns:a16="http://schemas.microsoft.com/office/drawing/2014/main" id="{C23EC704-5A14-4920-8F2D-341B3B56B8C5}"/>
              </a:ext>
            </a:extLst>
          </p:cNvPr>
          <p:cNvSpPr>
            <a:spLocks noChangeArrowheads="1"/>
          </p:cNvSpPr>
          <p:nvPr/>
        </p:nvSpPr>
        <p:spPr bwMode="auto">
          <a:xfrm>
            <a:off x="3341688" y="4487864"/>
            <a:ext cx="982662"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1" name="Rectangle 115">
            <a:extLst>
              <a:ext uri="{FF2B5EF4-FFF2-40B4-BE49-F238E27FC236}">
                <a16:creationId xmlns:a16="http://schemas.microsoft.com/office/drawing/2014/main" id="{A2BDB9E0-3E6A-4572-B543-EC549CF98267}"/>
              </a:ext>
            </a:extLst>
          </p:cNvPr>
          <p:cNvSpPr>
            <a:spLocks noChangeArrowheads="1"/>
          </p:cNvSpPr>
          <p:nvPr/>
        </p:nvSpPr>
        <p:spPr bwMode="auto">
          <a:xfrm>
            <a:off x="4479926" y="4487864"/>
            <a:ext cx="982663"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2" name="Rectangle 116">
            <a:extLst>
              <a:ext uri="{FF2B5EF4-FFF2-40B4-BE49-F238E27FC236}">
                <a16:creationId xmlns:a16="http://schemas.microsoft.com/office/drawing/2014/main" id="{6C870663-A898-462F-8589-D9EA943C8D8D}"/>
              </a:ext>
            </a:extLst>
          </p:cNvPr>
          <p:cNvSpPr>
            <a:spLocks noChangeArrowheads="1"/>
          </p:cNvSpPr>
          <p:nvPr/>
        </p:nvSpPr>
        <p:spPr bwMode="auto">
          <a:xfrm>
            <a:off x="5618163" y="4487864"/>
            <a:ext cx="984250"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3" name="Rectangle 117">
            <a:extLst>
              <a:ext uri="{FF2B5EF4-FFF2-40B4-BE49-F238E27FC236}">
                <a16:creationId xmlns:a16="http://schemas.microsoft.com/office/drawing/2014/main" id="{D4ADDBBE-4D16-4535-9614-7115B93B649B}"/>
              </a:ext>
            </a:extLst>
          </p:cNvPr>
          <p:cNvSpPr>
            <a:spLocks noChangeArrowheads="1"/>
          </p:cNvSpPr>
          <p:nvPr/>
        </p:nvSpPr>
        <p:spPr bwMode="auto">
          <a:xfrm>
            <a:off x="6757988" y="4487864"/>
            <a:ext cx="984250"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4" name="Rectangle 118">
            <a:extLst>
              <a:ext uri="{FF2B5EF4-FFF2-40B4-BE49-F238E27FC236}">
                <a16:creationId xmlns:a16="http://schemas.microsoft.com/office/drawing/2014/main" id="{72CDED28-5BFE-4B32-AE33-106A73A4F8EA}"/>
              </a:ext>
            </a:extLst>
          </p:cNvPr>
          <p:cNvSpPr>
            <a:spLocks noChangeArrowheads="1"/>
          </p:cNvSpPr>
          <p:nvPr/>
        </p:nvSpPr>
        <p:spPr bwMode="auto">
          <a:xfrm>
            <a:off x="7897813" y="4487864"/>
            <a:ext cx="982662"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5" name="Rectangle 119">
            <a:extLst>
              <a:ext uri="{FF2B5EF4-FFF2-40B4-BE49-F238E27FC236}">
                <a16:creationId xmlns:a16="http://schemas.microsoft.com/office/drawing/2014/main" id="{946631F8-0054-43BC-9E7B-433204F32B74}"/>
              </a:ext>
            </a:extLst>
          </p:cNvPr>
          <p:cNvSpPr>
            <a:spLocks noChangeArrowheads="1"/>
          </p:cNvSpPr>
          <p:nvPr/>
        </p:nvSpPr>
        <p:spPr bwMode="auto">
          <a:xfrm>
            <a:off x="9037638" y="4487864"/>
            <a:ext cx="982662" cy="503237"/>
          </a:xfrm>
          <a:prstGeom prst="rect">
            <a:avLst/>
          </a:prstGeom>
          <a:solidFill>
            <a:schemeClr val="accent1"/>
          </a:solidFill>
          <a:ln w="12700" algn="ctr">
            <a:solidFill>
              <a:schemeClr val="accent1"/>
            </a:solidFill>
            <a:miter lim="800000"/>
            <a:headEnd/>
            <a:tailEnd/>
          </a:ln>
        </p:spPr>
        <p:txBody>
          <a:bodyPr lIns="90000" tIns="46800" rIns="90000" bIns="46800" anchor="ctr"/>
          <a:lstStyle/>
          <a:p>
            <a:pPr algn="ctr">
              <a:defRPr/>
            </a:pPr>
            <a:r>
              <a:rPr lang="en-US" sz="1200">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cxnSp>
        <p:nvCxnSpPr>
          <p:cNvPr id="56" name="AutoShape 13">
            <a:extLst>
              <a:ext uri="{FF2B5EF4-FFF2-40B4-BE49-F238E27FC236}">
                <a16:creationId xmlns:a16="http://schemas.microsoft.com/office/drawing/2014/main" id="{8330A526-2017-4F55-98AD-99C3609D918A}"/>
              </a:ext>
            </a:extLst>
          </p:cNvPr>
          <p:cNvCxnSpPr>
            <a:cxnSpLocks noChangeShapeType="1"/>
            <a:stCxn id="50" idx="3"/>
            <a:endCxn id="51" idx="1"/>
          </p:cNvCxnSpPr>
          <p:nvPr/>
        </p:nvCxnSpPr>
        <p:spPr bwMode="auto">
          <a:xfrm>
            <a:off x="4324351" y="4740275"/>
            <a:ext cx="155575" cy="1588"/>
          </a:xfrm>
          <a:prstGeom prst="straightConnector1">
            <a:avLst/>
          </a:prstGeom>
          <a:noFill/>
          <a:ln w="19050">
            <a:solidFill>
              <a:srgbClr val="333F4C"/>
            </a:solidFill>
            <a:round/>
            <a:headEnd/>
            <a:tailEnd type="triangle" w="med" len="med"/>
          </a:ln>
        </p:spPr>
      </p:cxnSp>
      <p:cxnSp>
        <p:nvCxnSpPr>
          <p:cNvPr id="57" name="AutoShape 14">
            <a:extLst>
              <a:ext uri="{FF2B5EF4-FFF2-40B4-BE49-F238E27FC236}">
                <a16:creationId xmlns:a16="http://schemas.microsoft.com/office/drawing/2014/main" id="{C3A0853E-26DF-42A2-82D3-4BC16D836F0E}"/>
              </a:ext>
            </a:extLst>
          </p:cNvPr>
          <p:cNvCxnSpPr>
            <a:cxnSpLocks noChangeShapeType="1"/>
            <a:stCxn id="51" idx="3"/>
            <a:endCxn id="52" idx="1"/>
          </p:cNvCxnSpPr>
          <p:nvPr/>
        </p:nvCxnSpPr>
        <p:spPr bwMode="auto">
          <a:xfrm>
            <a:off x="5462589" y="4740275"/>
            <a:ext cx="155575" cy="1588"/>
          </a:xfrm>
          <a:prstGeom prst="straightConnector1">
            <a:avLst/>
          </a:prstGeom>
          <a:noFill/>
          <a:ln w="19050">
            <a:solidFill>
              <a:srgbClr val="333F4C"/>
            </a:solidFill>
            <a:round/>
            <a:headEnd/>
            <a:tailEnd type="triangle" w="med" len="med"/>
          </a:ln>
        </p:spPr>
      </p:cxnSp>
      <p:cxnSp>
        <p:nvCxnSpPr>
          <p:cNvPr id="58" name="AutoShape 15">
            <a:extLst>
              <a:ext uri="{FF2B5EF4-FFF2-40B4-BE49-F238E27FC236}">
                <a16:creationId xmlns:a16="http://schemas.microsoft.com/office/drawing/2014/main" id="{5CB7F65E-6874-4B16-B366-AED813AD1298}"/>
              </a:ext>
            </a:extLst>
          </p:cNvPr>
          <p:cNvCxnSpPr>
            <a:cxnSpLocks noChangeShapeType="1"/>
            <a:stCxn id="52" idx="3"/>
            <a:endCxn id="53" idx="1"/>
          </p:cNvCxnSpPr>
          <p:nvPr/>
        </p:nvCxnSpPr>
        <p:spPr bwMode="auto">
          <a:xfrm>
            <a:off x="6602414" y="4740275"/>
            <a:ext cx="155575" cy="1588"/>
          </a:xfrm>
          <a:prstGeom prst="straightConnector1">
            <a:avLst/>
          </a:prstGeom>
          <a:noFill/>
          <a:ln w="19050">
            <a:solidFill>
              <a:srgbClr val="333F4C"/>
            </a:solidFill>
            <a:round/>
            <a:headEnd/>
            <a:tailEnd type="triangle" w="med" len="med"/>
          </a:ln>
        </p:spPr>
      </p:cxnSp>
      <p:cxnSp>
        <p:nvCxnSpPr>
          <p:cNvPr id="59" name="AutoShape 16">
            <a:extLst>
              <a:ext uri="{FF2B5EF4-FFF2-40B4-BE49-F238E27FC236}">
                <a16:creationId xmlns:a16="http://schemas.microsoft.com/office/drawing/2014/main" id="{CD1458D4-FA67-4A50-9896-E22A13E076D3}"/>
              </a:ext>
            </a:extLst>
          </p:cNvPr>
          <p:cNvCxnSpPr>
            <a:cxnSpLocks noChangeShapeType="1"/>
            <a:stCxn id="53" idx="3"/>
            <a:endCxn id="54" idx="1"/>
          </p:cNvCxnSpPr>
          <p:nvPr/>
        </p:nvCxnSpPr>
        <p:spPr bwMode="auto">
          <a:xfrm>
            <a:off x="7742239" y="4740275"/>
            <a:ext cx="155575" cy="1588"/>
          </a:xfrm>
          <a:prstGeom prst="straightConnector1">
            <a:avLst/>
          </a:prstGeom>
          <a:noFill/>
          <a:ln w="19050">
            <a:solidFill>
              <a:srgbClr val="333F4C"/>
            </a:solidFill>
            <a:round/>
            <a:headEnd/>
            <a:tailEnd type="triangle" w="med" len="med"/>
          </a:ln>
        </p:spPr>
      </p:cxnSp>
      <p:cxnSp>
        <p:nvCxnSpPr>
          <p:cNvPr id="60" name="AutoShape 17">
            <a:extLst>
              <a:ext uri="{FF2B5EF4-FFF2-40B4-BE49-F238E27FC236}">
                <a16:creationId xmlns:a16="http://schemas.microsoft.com/office/drawing/2014/main" id="{4B518234-8C14-428A-844C-B7B369C03239}"/>
              </a:ext>
            </a:extLst>
          </p:cNvPr>
          <p:cNvCxnSpPr>
            <a:cxnSpLocks noChangeShapeType="1"/>
            <a:stCxn id="54" idx="3"/>
            <a:endCxn id="55" idx="1"/>
          </p:cNvCxnSpPr>
          <p:nvPr/>
        </p:nvCxnSpPr>
        <p:spPr bwMode="auto">
          <a:xfrm>
            <a:off x="8880476" y="4740275"/>
            <a:ext cx="157163" cy="1588"/>
          </a:xfrm>
          <a:prstGeom prst="straightConnector1">
            <a:avLst/>
          </a:prstGeom>
          <a:noFill/>
          <a:ln w="19050">
            <a:solidFill>
              <a:srgbClr val="333F4C"/>
            </a:solidFill>
            <a:round/>
            <a:headEnd/>
            <a:tailEnd type="triangle" w="med" len="med"/>
          </a:ln>
        </p:spPr>
      </p:cxnSp>
      <p:sp>
        <p:nvSpPr>
          <p:cNvPr id="61" name="Rectangle 125">
            <a:extLst>
              <a:ext uri="{FF2B5EF4-FFF2-40B4-BE49-F238E27FC236}">
                <a16:creationId xmlns:a16="http://schemas.microsoft.com/office/drawing/2014/main" id="{EFC499E5-CBFA-4EFB-8FDC-9ABA47CE6098}"/>
              </a:ext>
            </a:extLst>
          </p:cNvPr>
          <p:cNvSpPr>
            <a:spLocks noChangeArrowheads="1"/>
          </p:cNvSpPr>
          <p:nvPr/>
        </p:nvSpPr>
        <p:spPr bwMode="auto">
          <a:xfrm>
            <a:off x="3341688" y="53498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p>
        </p:txBody>
      </p:sp>
      <p:sp>
        <p:nvSpPr>
          <p:cNvPr id="62" name="Rectangle 126">
            <a:extLst>
              <a:ext uri="{FF2B5EF4-FFF2-40B4-BE49-F238E27FC236}">
                <a16:creationId xmlns:a16="http://schemas.microsoft.com/office/drawing/2014/main" id="{457FAAAD-8261-4F3A-ACA5-C7C70C09A60D}"/>
              </a:ext>
            </a:extLst>
          </p:cNvPr>
          <p:cNvSpPr>
            <a:spLocks noChangeArrowheads="1"/>
          </p:cNvSpPr>
          <p:nvPr/>
        </p:nvSpPr>
        <p:spPr bwMode="auto">
          <a:xfrm>
            <a:off x="4479926" y="5349875"/>
            <a:ext cx="982663"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3" name="Rectangle 127">
            <a:extLst>
              <a:ext uri="{FF2B5EF4-FFF2-40B4-BE49-F238E27FC236}">
                <a16:creationId xmlns:a16="http://schemas.microsoft.com/office/drawing/2014/main" id="{8996CC53-27C6-40E1-BC72-129BA33B0CD4}"/>
              </a:ext>
            </a:extLst>
          </p:cNvPr>
          <p:cNvSpPr>
            <a:spLocks noChangeArrowheads="1"/>
          </p:cNvSpPr>
          <p:nvPr/>
        </p:nvSpPr>
        <p:spPr bwMode="auto">
          <a:xfrm>
            <a:off x="5618163" y="5349875"/>
            <a:ext cx="984250"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4" name="Rectangle 128">
            <a:extLst>
              <a:ext uri="{FF2B5EF4-FFF2-40B4-BE49-F238E27FC236}">
                <a16:creationId xmlns:a16="http://schemas.microsoft.com/office/drawing/2014/main" id="{EE33B668-57F2-488E-8F4D-BFD52DD2C3B0}"/>
              </a:ext>
            </a:extLst>
          </p:cNvPr>
          <p:cNvSpPr>
            <a:spLocks noChangeArrowheads="1"/>
          </p:cNvSpPr>
          <p:nvPr/>
        </p:nvSpPr>
        <p:spPr bwMode="auto">
          <a:xfrm>
            <a:off x="6757988" y="5349875"/>
            <a:ext cx="984250"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5" name="Rectangle 129">
            <a:extLst>
              <a:ext uri="{FF2B5EF4-FFF2-40B4-BE49-F238E27FC236}">
                <a16:creationId xmlns:a16="http://schemas.microsoft.com/office/drawing/2014/main" id="{5D471B0B-3CE0-4E19-AF4D-181C65C9B476}"/>
              </a:ext>
            </a:extLst>
          </p:cNvPr>
          <p:cNvSpPr>
            <a:spLocks noChangeArrowheads="1"/>
          </p:cNvSpPr>
          <p:nvPr/>
        </p:nvSpPr>
        <p:spPr bwMode="auto">
          <a:xfrm>
            <a:off x="7897813" y="53498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6" name="Rectangle 130">
            <a:extLst>
              <a:ext uri="{FF2B5EF4-FFF2-40B4-BE49-F238E27FC236}">
                <a16:creationId xmlns:a16="http://schemas.microsoft.com/office/drawing/2014/main" id="{6345296C-3A42-4096-BBF8-A405EF53C818}"/>
              </a:ext>
            </a:extLst>
          </p:cNvPr>
          <p:cNvSpPr>
            <a:spLocks noChangeArrowheads="1"/>
          </p:cNvSpPr>
          <p:nvPr/>
        </p:nvSpPr>
        <p:spPr bwMode="auto">
          <a:xfrm>
            <a:off x="9037638" y="5349875"/>
            <a:ext cx="982662" cy="503238"/>
          </a:xfrm>
          <a:prstGeom prst="rect">
            <a:avLst/>
          </a:prstGeom>
          <a:solidFill>
            <a:schemeClr val="bg1"/>
          </a:solidFill>
          <a:ln w="12700" algn="ctr">
            <a:solidFill>
              <a:srgbClr val="333F4C"/>
            </a:solidFill>
            <a:miter lim="800000"/>
            <a:headEnd/>
            <a:tailEnd/>
          </a:ln>
        </p:spPr>
        <p:txBody>
          <a:bodyPr lIns="90000" tIns="46800" rIns="90000" bIns="46800" anchor="ctr"/>
          <a:lstStyle/>
          <a:p>
            <a:pPr algn="ctr">
              <a:defRPr/>
            </a:pPr>
            <a:r>
              <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vity</a:t>
            </a: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cxnSp>
        <p:nvCxnSpPr>
          <p:cNvPr id="67" name="AutoShape 13">
            <a:extLst>
              <a:ext uri="{FF2B5EF4-FFF2-40B4-BE49-F238E27FC236}">
                <a16:creationId xmlns:a16="http://schemas.microsoft.com/office/drawing/2014/main" id="{819D8AB2-4EA8-4E08-BCC4-9304D588759B}"/>
              </a:ext>
            </a:extLst>
          </p:cNvPr>
          <p:cNvCxnSpPr>
            <a:cxnSpLocks noChangeShapeType="1"/>
            <a:stCxn id="61" idx="3"/>
            <a:endCxn id="62" idx="1"/>
          </p:cNvCxnSpPr>
          <p:nvPr/>
        </p:nvCxnSpPr>
        <p:spPr bwMode="auto">
          <a:xfrm>
            <a:off x="4324351" y="5600700"/>
            <a:ext cx="155575" cy="1588"/>
          </a:xfrm>
          <a:prstGeom prst="straightConnector1">
            <a:avLst/>
          </a:prstGeom>
          <a:noFill/>
          <a:ln w="19050">
            <a:solidFill>
              <a:srgbClr val="333F4C"/>
            </a:solidFill>
            <a:round/>
            <a:headEnd/>
            <a:tailEnd type="triangle" w="med" len="med"/>
          </a:ln>
        </p:spPr>
      </p:cxnSp>
      <p:cxnSp>
        <p:nvCxnSpPr>
          <p:cNvPr id="68" name="AutoShape 14">
            <a:extLst>
              <a:ext uri="{FF2B5EF4-FFF2-40B4-BE49-F238E27FC236}">
                <a16:creationId xmlns:a16="http://schemas.microsoft.com/office/drawing/2014/main" id="{E6B7E20A-A48C-4AC4-8566-9D1F79147E8C}"/>
              </a:ext>
            </a:extLst>
          </p:cNvPr>
          <p:cNvCxnSpPr>
            <a:cxnSpLocks noChangeShapeType="1"/>
            <a:stCxn id="62" idx="3"/>
            <a:endCxn id="63" idx="1"/>
          </p:cNvCxnSpPr>
          <p:nvPr/>
        </p:nvCxnSpPr>
        <p:spPr bwMode="auto">
          <a:xfrm>
            <a:off x="5462589" y="5600700"/>
            <a:ext cx="155575" cy="1588"/>
          </a:xfrm>
          <a:prstGeom prst="straightConnector1">
            <a:avLst/>
          </a:prstGeom>
          <a:noFill/>
          <a:ln w="19050">
            <a:solidFill>
              <a:srgbClr val="333F4C"/>
            </a:solidFill>
            <a:round/>
            <a:headEnd/>
            <a:tailEnd type="triangle" w="med" len="med"/>
          </a:ln>
        </p:spPr>
      </p:cxnSp>
      <p:cxnSp>
        <p:nvCxnSpPr>
          <p:cNvPr id="69" name="AutoShape 15">
            <a:extLst>
              <a:ext uri="{FF2B5EF4-FFF2-40B4-BE49-F238E27FC236}">
                <a16:creationId xmlns:a16="http://schemas.microsoft.com/office/drawing/2014/main" id="{1DD3B83F-332C-4404-A5A8-6F6D5E1131F1}"/>
              </a:ext>
            </a:extLst>
          </p:cNvPr>
          <p:cNvCxnSpPr>
            <a:cxnSpLocks noChangeShapeType="1"/>
            <a:stCxn id="63" idx="3"/>
            <a:endCxn id="64" idx="1"/>
          </p:cNvCxnSpPr>
          <p:nvPr/>
        </p:nvCxnSpPr>
        <p:spPr bwMode="auto">
          <a:xfrm>
            <a:off x="6602414" y="5600700"/>
            <a:ext cx="155575" cy="1588"/>
          </a:xfrm>
          <a:prstGeom prst="straightConnector1">
            <a:avLst/>
          </a:prstGeom>
          <a:noFill/>
          <a:ln w="19050">
            <a:solidFill>
              <a:srgbClr val="333F4C"/>
            </a:solidFill>
            <a:round/>
            <a:headEnd/>
            <a:tailEnd type="triangle" w="med" len="med"/>
          </a:ln>
        </p:spPr>
      </p:cxnSp>
      <p:cxnSp>
        <p:nvCxnSpPr>
          <p:cNvPr id="70" name="AutoShape 16">
            <a:extLst>
              <a:ext uri="{FF2B5EF4-FFF2-40B4-BE49-F238E27FC236}">
                <a16:creationId xmlns:a16="http://schemas.microsoft.com/office/drawing/2014/main" id="{F7F83B58-7167-44B6-AE61-F5BED3BC74E8}"/>
              </a:ext>
            </a:extLst>
          </p:cNvPr>
          <p:cNvCxnSpPr>
            <a:cxnSpLocks noChangeShapeType="1"/>
            <a:stCxn id="64" idx="3"/>
            <a:endCxn id="65" idx="1"/>
          </p:cNvCxnSpPr>
          <p:nvPr/>
        </p:nvCxnSpPr>
        <p:spPr bwMode="auto">
          <a:xfrm>
            <a:off x="7742239" y="5600700"/>
            <a:ext cx="155575" cy="1588"/>
          </a:xfrm>
          <a:prstGeom prst="straightConnector1">
            <a:avLst/>
          </a:prstGeom>
          <a:noFill/>
          <a:ln w="19050">
            <a:solidFill>
              <a:srgbClr val="333F4C"/>
            </a:solidFill>
            <a:round/>
            <a:headEnd/>
            <a:tailEnd type="triangle" w="med" len="med"/>
          </a:ln>
        </p:spPr>
      </p:cxnSp>
      <p:cxnSp>
        <p:nvCxnSpPr>
          <p:cNvPr id="71" name="AutoShape 17">
            <a:extLst>
              <a:ext uri="{FF2B5EF4-FFF2-40B4-BE49-F238E27FC236}">
                <a16:creationId xmlns:a16="http://schemas.microsoft.com/office/drawing/2014/main" id="{2EB5D8D4-80CD-49AB-816B-051A916149EB}"/>
              </a:ext>
            </a:extLst>
          </p:cNvPr>
          <p:cNvCxnSpPr>
            <a:cxnSpLocks noChangeShapeType="1"/>
            <a:stCxn id="65" idx="3"/>
            <a:endCxn id="66" idx="1"/>
          </p:cNvCxnSpPr>
          <p:nvPr/>
        </p:nvCxnSpPr>
        <p:spPr bwMode="auto">
          <a:xfrm>
            <a:off x="8880476" y="5600700"/>
            <a:ext cx="157163" cy="1588"/>
          </a:xfrm>
          <a:prstGeom prst="straightConnector1">
            <a:avLst/>
          </a:prstGeom>
          <a:noFill/>
          <a:ln w="19050">
            <a:solidFill>
              <a:srgbClr val="333F4C"/>
            </a:solidFill>
            <a:round/>
            <a:headEnd/>
            <a:tailEnd type="triangle" w="med" len="med"/>
          </a:ln>
        </p:spPr>
      </p:cxnSp>
    </p:spTree>
    <p:extLst>
      <p:ext uri="{BB962C8B-B14F-4D97-AF65-F5344CB8AC3E}">
        <p14:creationId xmlns:p14="http://schemas.microsoft.com/office/powerpoint/2010/main" val="21083616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42" name="Title 1"/>
          <p:cNvSpPr>
            <a:spLocks noGrp="1"/>
          </p:cNvSpPr>
          <p:nvPr>
            <p:ph type="title"/>
          </p:nvPr>
        </p:nvSpPr>
        <p:spPr/>
        <p:txBody>
          <a:bodyPr/>
          <a:lstStyle/>
          <a:p>
            <a:r>
              <a:rPr lang="en-US" altLang="ja-JP" dirty="0"/>
              <a:t>Generic strategy development framework</a:t>
            </a:r>
            <a:endParaRPr lang="en-US" dirty="0">
              <a:solidFill>
                <a:srgbClr val="575757"/>
              </a:solidFill>
            </a:endParaRPr>
          </a:p>
        </p:txBody>
      </p:sp>
      <p:sp>
        <p:nvSpPr>
          <p:cNvPr id="2" name="Foliennummernplatzhalter 1">
            <a:extLst>
              <a:ext uri="{FF2B5EF4-FFF2-40B4-BE49-F238E27FC236}">
                <a16:creationId xmlns:a16="http://schemas.microsoft.com/office/drawing/2014/main" id="{A5DF2B96-F24C-45F2-A1B2-94457C6811BC}"/>
              </a:ext>
            </a:extLst>
          </p:cNvPr>
          <p:cNvSpPr>
            <a:spLocks noGrp="1"/>
          </p:cNvSpPr>
          <p:nvPr>
            <p:ph type="sldNum" sz="quarter" idx="16"/>
          </p:nvPr>
        </p:nvSpPr>
        <p:spPr/>
        <p:txBody>
          <a:bodyPr/>
          <a:lstStyle/>
          <a:p>
            <a:fld id="{95CC1D26-A9BD-4BDE-BDD9-08EDBAE96860}" type="slidenum">
              <a:rPr lang="en-GB" smtClean="0"/>
              <a:pPr/>
              <a:t>27</a:t>
            </a:fld>
            <a:endParaRPr lang="en-GB" dirty="0"/>
          </a:p>
        </p:txBody>
      </p:sp>
      <p:sp>
        <p:nvSpPr>
          <p:cNvPr id="778244" name="AutoShape 6"/>
          <p:cNvSpPr>
            <a:spLocks noChangeArrowheads="1"/>
          </p:cNvSpPr>
          <p:nvPr/>
        </p:nvSpPr>
        <p:spPr bwMode="auto">
          <a:xfrm>
            <a:off x="3324226" y="3706493"/>
            <a:ext cx="752475" cy="336550"/>
          </a:xfrm>
          <a:prstGeom prst="rightArrow">
            <a:avLst>
              <a:gd name="adj1" fmla="val 50000"/>
              <a:gd name="adj2" fmla="val 50244"/>
            </a:avLst>
          </a:prstGeom>
          <a:solidFill>
            <a:schemeClr val="accent3"/>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45" name="AutoShape 7"/>
          <p:cNvSpPr>
            <a:spLocks noChangeArrowheads="1"/>
          </p:cNvSpPr>
          <p:nvPr/>
        </p:nvSpPr>
        <p:spPr bwMode="auto">
          <a:xfrm>
            <a:off x="4906964" y="3706493"/>
            <a:ext cx="752475" cy="336550"/>
          </a:xfrm>
          <a:prstGeom prst="rightArrow">
            <a:avLst>
              <a:gd name="adj1" fmla="val 50000"/>
              <a:gd name="adj2" fmla="val 50244"/>
            </a:avLst>
          </a:prstGeom>
          <a:solidFill>
            <a:schemeClr val="accent3"/>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46" name="AutoShape 8"/>
          <p:cNvSpPr>
            <a:spLocks noChangeArrowheads="1"/>
          </p:cNvSpPr>
          <p:nvPr/>
        </p:nvSpPr>
        <p:spPr bwMode="auto">
          <a:xfrm>
            <a:off x="6205538" y="3704113"/>
            <a:ext cx="620712" cy="341313"/>
          </a:xfrm>
          <a:prstGeom prst="rightArrow">
            <a:avLst>
              <a:gd name="adj1" fmla="val 50000"/>
              <a:gd name="adj2" fmla="val 49254"/>
            </a:avLst>
          </a:prstGeom>
          <a:solidFill>
            <a:schemeClr val="accent3"/>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47" name="AutoShape 9"/>
          <p:cNvSpPr>
            <a:spLocks noChangeArrowheads="1"/>
          </p:cNvSpPr>
          <p:nvPr/>
        </p:nvSpPr>
        <p:spPr bwMode="auto">
          <a:xfrm>
            <a:off x="7757153" y="3704113"/>
            <a:ext cx="617537" cy="341313"/>
          </a:xfrm>
          <a:prstGeom prst="rightArrow">
            <a:avLst>
              <a:gd name="adj1" fmla="val 50000"/>
              <a:gd name="adj2" fmla="val 49002"/>
            </a:avLst>
          </a:prstGeom>
          <a:solidFill>
            <a:schemeClr val="accent3"/>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4" name="AutoShape 10"/>
          <p:cNvSpPr>
            <a:spLocks noChangeArrowheads="1"/>
          </p:cNvSpPr>
          <p:nvPr/>
        </p:nvSpPr>
        <p:spPr bwMode="auto">
          <a:xfrm>
            <a:off x="3953934" y="1828800"/>
            <a:ext cx="1660525" cy="576262"/>
          </a:xfrm>
          <a:prstGeom prst="chevron">
            <a:avLst>
              <a:gd name="adj" fmla="val 27802"/>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lnSpc>
                <a:spcPct val="106000"/>
              </a:lnSpc>
              <a:buClr>
                <a:schemeClr val="tx1"/>
              </a:buClr>
              <a:buFont typeface="Times New Roman" pitchFamily="18" charset="0"/>
              <a:buNone/>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2. Conduct</a:t>
            </a:r>
          </a:p>
          <a:p>
            <a:pPr algn="ctr">
              <a:lnSpc>
                <a:spcPct val="106000"/>
              </a:lnSpc>
              <a:buClr>
                <a:schemeClr val="tx1"/>
              </a:buClr>
              <a:buFont typeface="Times New Roman" pitchFamily="18" charset="0"/>
              <a:buNone/>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analysis</a:t>
            </a:r>
            <a:endPar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5" name="AutoShape 11"/>
          <p:cNvSpPr>
            <a:spLocks noChangeArrowheads="1"/>
          </p:cNvSpPr>
          <p:nvPr/>
        </p:nvSpPr>
        <p:spPr bwMode="auto">
          <a:xfrm>
            <a:off x="2439988" y="1828800"/>
            <a:ext cx="1541462" cy="576262"/>
          </a:xfrm>
          <a:prstGeom prst="homePlate">
            <a:avLst>
              <a:gd name="adj" fmla="val 28686"/>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1. Evaluate</a:t>
            </a:r>
            <a:b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situation</a:t>
            </a:r>
            <a:endPar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0" name="Rectangle 12"/>
          <p:cNvSpPr>
            <a:spLocks noChangeArrowheads="1"/>
          </p:cNvSpPr>
          <p:nvPr/>
        </p:nvSpPr>
        <p:spPr bwMode="auto">
          <a:xfrm>
            <a:off x="2436019" y="2525711"/>
            <a:ext cx="1260000" cy="2700000"/>
          </a:xfrm>
          <a:prstGeom prst="rect">
            <a:avLst/>
          </a:prstGeom>
          <a:solidFill>
            <a:schemeClr val="accent1">
              <a:lumMod val="20000"/>
              <a:lumOff val="80000"/>
            </a:schemeClr>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1" name="AutoShape 13"/>
          <p:cNvSpPr>
            <a:spLocks noChangeArrowheads="1"/>
          </p:cNvSpPr>
          <p:nvPr/>
        </p:nvSpPr>
        <p:spPr bwMode="auto">
          <a:xfrm flipV="1">
            <a:off x="2835833" y="3351078"/>
            <a:ext cx="460375" cy="130175"/>
          </a:xfrm>
          <a:prstGeom prst="triangle">
            <a:avLst>
              <a:gd name="adj" fmla="val 50000"/>
            </a:avLst>
          </a:prstGeom>
          <a:solidFill>
            <a:srgbClr val="333F4C"/>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2" name="AutoShape 14"/>
          <p:cNvSpPr>
            <a:spLocks noChangeArrowheads="1"/>
          </p:cNvSpPr>
          <p:nvPr/>
        </p:nvSpPr>
        <p:spPr bwMode="auto">
          <a:xfrm>
            <a:off x="2835833" y="4268285"/>
            <a:ext cx="460375" cy="131763"/>
          </a:xfrm>
          <a:prstGeom prst="triangle">
            <a:avLst>
              <a:gd name="adj" fmla="val 50000"/>
            </a:avLst>
          </a:prstGeom>
          <a:solidFill>
            <a:srgbClr val="333F4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3" name="Rectangle 15"/>
          <p:cNvSpPr>
            <a:spLocks noChangeArrowheads="1"/>
          </p:cNvSpPr>
          <p:nvPr/>
        </p:nvSpPr>
        <p:spPr bwMode="auto">
          <a:xfrm>
            <a:off x="2526019" y="2597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Business</a:t>
            </a:r>
          </a:p>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definition</a:t>
            </a:r>
          </a:p>
        </p:txBody>
      </p:sp>
      <p:sp>
        <p:nvSpPr>
          <p:cNvPr id="778254" name="Rectangle 16"/>
          <p:cNvSpPr>
            <a:spLocks noChangeArrowheads="1"/>
          </p:cNvSpPr>
          <p:nvPr/>
        </p:nvSpPr>
        <p:spPr bwMode="auto">
          <a:xfrm>
            <a:off x="2526019" y="4523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Business</a:t>
            </a:r>
          </a:p>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constraints</a:t>
            </a:r>
          </a:p>
        </p:txBody>
      </p:sp>
      <p:sp>
        <p:nvSpPr>
          <p:cNvPr id="778255" name="Oval 17"/>
          <p:cNvSpPr>
            <a:spLocks noChangeArrowheads="1"/>
          </p:cNvSpPr>
          <p:nvPr/>
        </p:nvSpPr>
        <p:spPr bwMode="auto">
          <a:xfrm>
            <a:off x="2472019" y="3604768"/>
            <a:ext cx="1188000" cy="540000"/>
          </a:xfrm>
          <a:prstGeom prst="ellipse">
            <a:avLst/>
          </a:prstGeom>
          <a:solidFill>
            <a:schemeClr val="accent3"/>
          </a:solidFill>
          <a:ln w="12700" algn="ctr">
            <a:solidFill>
              <a:schemeClr val="bg1"/>
            </a:solidFill>
            <a:round/>
            <a:headEnd type="none" w="sm" len="sm"/>
            <a:tailEnd type="none" w="sm" len="sm"/>
          </a:ln>
        </p:spPr>
        <p:txBody>
          <a:bodyPr wrap="square" lIns="18000" tIns="18000" rIns="18000" bIns="18000" anchor="ctr"/>
          <a:lstStyle/>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Business</a:t>
            </a:r>
          </a:p>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imperatives</a:t>
            </a:r>
          </a:p>
        </p:txBody>
      </p:sp>
      <p:sp>
        <p:nvSpPr>
          <p:cNvPr id="778256" name="Rectangle 18"/>
          <p:cNvSpPr>
            <a:spLocks noChangeArrowheads="1"/>
          </p:cNvSpPr>
          <p:nvPr/>
        </p:nvSpPr>
        <p:spPr bwMode="auto">
          <a:xfrm>
            <a:off x="4124325" y="2525711"/>
            <a:ext cx="1260000" cy="2700000"/>
          </a:xfrm>
          <a:prstGeom prst="rect">
            <a:avLst/>
          </a:prstGeom>
          <a:solidFill>
            <a:schemeClr val="accent1">
              <a:lumMod val="20000"/>
              <a:lumOff val="80000"/>
            </a:schemeClr>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7" name="AutoShape 19"/>
          <p:cNvSpPr>
            <a:spLocks noChangeArrowheads="1"/>
          </p:cNvSpPr>
          <p:nvPr/>
        </p:nvSpPr>
        <p:spPr bwMode="auto">
          <a:xfrm flipV="1">
            <a:off x="4525725" y="3351078"/>
            <a:ext cx="457200" cy="130175"/>
          </a:xfrm>
          <a:prstGeom prst="triangle">
            <a:avLst>
              <a:gd name="adj" fmla="val 50000"/>
            </a:avLst>
          </a:prstGeom>
          <a:solidFill>
            <a:srgbClr val="333F4C"/>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8" name="AutoShape 20"/>
          <p:cNvSpPr>
            <a:spLocks noChangeArrowheads="1"/>
          </p:cNvSpPr>
          <p:nvPr/>
        </p:nvSpPr>
        <p:spPr bwMode="auto">
          <a:xfrm>
            <a:off x="4525725" y="4268285"/>
            <a:ext cx="457200" cy="131763"/>
          </a:xfrm>
          <a:prstGeom prst="triangle">
            <a:avLst>
              <a:gd name="adj" fmla="val 50000"/>
            </a:avLst>
          </a:prstGeom>
          <a:solidFill>
            <a:srgbClr val="333F4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59" name="Rectangle 21"/>
          <p:cNvSpPr>
            <a:spLocks noChangeArrowheads="1"/>
          </p:cNvSpPr>
          <p:nvPr/>
        </p:nvSpPr>
        <p:spPr bwMode="auto">
          <a:xfrm>
            <a:off x="4214325" y="2597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External analysis</a:t>
            </a:r>
          </a:p>
        </p:txBody>
      </p:sp>
      <p:sp>
        <p:nvSpPr>
          <p:cNvPr id="778260" name="Rectangle 22"/>
          <p:cNvSpPr>
            <a:spLocks noChangeArrowheads="1"/>
          </p:cNvSpPr>
          <p:nvPr/>
        </p:nvSpPr>
        <p:spPr bwMode="auto">
          <a:xfrm>
            <a:off x="4214325" y="4523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Internal analysis</a:t>
            </a:r>
          </a:p>
        </p:txBody>
      </p:sp>
      <p:sp>
        <p:nvSpPr>
          <p:cNvPr id="778261" name="Oval 23"/>
          <p:cNvSpPr>
            <a:spLocks noChangeArrowheads="1"/>
          </p:cNvSpPr>
          <p:nvPr/>
        </p:nvSpPr>
        <p:spPr bwMode="auto">
          <a:xfrm>
            <a:off x="4160325" y="3604768"/>
            <a:ext cx="1188000" cy="540000"/>
          </a:xfrm>
          <a:prstGeom prst="ellipse">
            <a:avLst/>
          </a:prstGeom>
          <a:solidFill>
            <a:schemeClr val="accent3"/>
          </a:solidFill>
          <a:ln w="12700" algn="ctr">
            <a:solidFill>
              <a:schemeClr val="bg1"/>
            </a:solidFill>
            <a:round/>
            <a:headEnd type="none" w="sm" len="sm"/>
            <a:tailEnd type="none" w="sm" len="sm"/>
          </a:ln>
        </p:spPr>
        <p:txBody>
          <a:bodyPr wrap="square" lIns="18000" tIns="18000" rIns="18000" bIns="18000" anchor="ctr"/>
          <a:lstStyle/>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Key insights</a:t>
            </a:r>
          </a:p>
        </p:txBody>
      </p:sp>
      <p:sp>
        <p:nvSpPr>
          <p:cNvPr id="31" name="Rectangle 27"/>
          <p:cNvSpPr>
            <a:spLocks noChangeArrowheads="1"/>
          </p:cNvSpPr>
          <p:nvPr/>
        </p:nvSpPr>
        <p:spPr bwMode="auto">
          <a:xfrm>
            <a:off x="5659439" y="3524726"/>
            <a:ext cx="833437" cy="700087"/>
          </a:xfrm>
          <a:prstGeom prst="rect">
            <a:avLst/>
          </a:prstGeom>
          <a:solidFill>
            <a:schemeClr val="bg1"/>
          </a:solidFill>
          <a:ln w="12700" algn="ctr">
            <a:solidFill>
              <a:schemeClr val="tx1"/>
            </a:solidFill>
            <a:miter lim="800000"/>
            <a:headEnd type="none" w="sm" len="sm"/>
            <a:tailEnd type="none" w="sm" len="sm"/>
          </a:ln>
        </p:spPr>
        <p:txBody>
          <a:bodyPr wrap="square" lIns="36000" tIns="36000" rIns="36000" bIns="36000" anchor="ctr"/>
          <a:lstStyle/>
          <a:p>
            <a:pPr algn="ctr">
              <a:defRPr/>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Future industry</a:t>
            </a:r>
            <a:b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scenarios</a:t>
            </a:r>
          </a:p>
        </p:txBody>
      </p:sp>
      <p:sp>
        <p:nvSpPr>
          <p:cNvPr id="32" name="AutoShape 28"/>
          <p:cNvSpPr>
            <a:spLocks noChangeArrowheads="1"/>
          </p:cNvSpPr>
          <p:nvPr/>
        </p:nvSpPr>
        <p:spPr bwMode="auto">
          <a:xfrm>
            <a:off x="5586942" y="1828800"/>
            <a:ext cx="2524125" cy="576262"/>
          </a:xfrm>
          <a:prstGeom prst="chevron">
            <a:avLst>
              <a:gd name="adj" fmla="val 29754"/>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3. Formulate</a:t>
            </a:r>
            <a:b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strategy</a:t>
            </a:r>
            <a:endPar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3" name="AutoShape 29"/>
          <p:cNvSpPr>
            <a:spLocks noChangeArrowheads="1"/>
          </p:cNvSpPr>
          <p:nvPr/>
        </p:nvSpPr>
        <p:spPr bwMode="auto">
          <a:xfrm>
            <a:off x="8083550" y="1828800"/>
            <a:ext cx="1849438" cy="576262"/>
          </a:xfrm>
          <a:prstGeom prst="chevron">
            <a:avLst>
              <a:gd name="adj" fmla="val 30967"/>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4. Plan</a:t>
            </a:r>
            <a:b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br>
            <a:r>
              <a:rPr lang="en-US" sz="1200" b="1" dirty="0">
                <a:latin typeface="Microsoft Sans Serif" panose="020B0604020202020204" pitchFamily="34" charset="0"/>
                <a:ea typeface="Microsoft Sans Serif" panose="020B0604020202020204" pitchFamily="34" charset="0"/>
                <a:cs typeface="Microsoft Sans Serif" panose="020B0604020202020204" pitchFamily="34" charset="0"/>
              </a:rPr>
              <a:t>implementation</a:t>
            </a:r>
            <a:endPar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67" name="Rectangle 30"/>
          <p:cNvSpPr>
            <a:spLocks noChangeArrowheads="1"/>
          </p:cNvSpPr>
          <p:nvPr/>
        </p:nvSpPr>
        <p:spPr bwMode="auto">
          <a:xfrm>
            <a:off x="8374063" y="2525711"/>
            <a:ext cx="1260000" cy="2700000"/>
          </a:xfrm>
          <a:prstGeom prst="rect">
            <a:avLst/>
          </a:prstGeom>
          <a:solidFill>
            <a:schemeClr val="accent1">
              <a:lumMod val="20000"/>
              <a:lumOff val="80000"/>
            </a:schemeClr>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68" name="AutoShape 31"/>
          <p:cNvSpPr>
            <a:spLocks noChangeArrowheads="1"/>
          </p:cNvSpPr>
          <p:nvPr/>
        </p:nvSpPr>
        <p:spPr bwMode="auto">
          <a:xfrm>
            <a:off x="8793439" y="3351078"/>
            <a:ext cx="460375" cy="130175"/>
          </a:xfrm>
          <a:prstGeom prst="triangle">
            <a:avLst>
              <a:gd name="adj" fmla="val 50000"/>
            </a:avLst>
          </a:prstGeom>
          <a:solidFill>
            <a:srgbClr val="333F4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69" name="AutoShape 32"/>
          <p:cNvSpPr>
            <a:spLocks noChangeArrowheads="1"/>
          </p:cNvSpPr>
          <p:nvPr/>
        </p:nvSpPr>
        <p:spPr bwMode="auto">
          <a:xfrm flipV="1">
            <a:off x="8793439" y="4268285"/>
            <a:ext cx="460375" cy="131763"/>
          </a:xfrm>
          <a:prstGeom prst="triangle">
            <a:avLst>
              <a:gd name="adj" fmla="val 50000"/>
            </a:avLst>
          </a:prstGeom>
          <a:solidFill>
            <a:srgbClr val="333F4C"/>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70" name="Rectangle 33"/>
          <p:cNvSpPr>
            <a:spLocks noChangeArrowheads="1"/>
          </p:cNvSpPr>
          <p:nvPr/>
        </p:nvSpPr>
        <p:spPr bwMode="auto">
          <a:xfrm>
            <a:off x="8483625" y="2597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on plan</a:t>
            </a:r>
          </a:p>
        </p:txBody>
      </p:sp>
      <p:sp>
        <p:nvSpPr>
          <p:cNvPr id="778271" name="Rectangle 34"/>
          <p:cNvSpPr>
            <a:spLocks noChangeArrowheads="1"/>
          </p:cNvSpPr>
          <p:nvPr/>
        </p:nvSpPr>
        <p:spPr bwMode="auto">
          <a:xfrm>
            <a:off x="8483625" y="4523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Financial plan</a:t>
            </a:r>
          </a:p>
        </p:txBody>
      </p:sp>
      <p:sp>
        <p:nvSpPr>
          <p:cNvPr id="778272" name="Oval 35"/>
          <p:cNvSpPr>
            <a:spLocks noChangeArrowheads="1"/>
          </p:cNvSpPr>
          <p:nvPr/>
        </p:nvSpPr>
        <p:spPr bwMode="auto">
          <a:xfrm>
            <a:off x="8429625" y="3604768"/>
            <a:ext cx="1188000" cy="540000"/>
          </a:xfrm>
          <a:prstGeom prst="ellipse">
            <a:avLst/>
          </a:prstGeom>
          <a:solidFill>
            <a:schemeClr val="accent3"/>
          </a:solidFill>
          <a:ln w="12700" algn="ctr">
            <a:solidFill>
              <a:schemeClr val="bg1"/>
            </a:solidFill>
            <a:round/>
            <a:headEnd type="none" w="sm" len="sm"/>
            <a:tailEnd type="none" w="sm" len="sm"/>
          </a:ln>
        </p:spPr>
        <p:txBody>
          <a:bodyPr wrap="square" lIns="18000" tIns="18000" rIns="18000" bIns="18000" anchor="ctr"/>
          <a:lstStyle/>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Plans</a:t>
            </a:r>
          </a:p>
        </p:txBody>
      </p:sp>
      <p:sp>
        <p:nvSpPr>
          <p:cNvPr id="778273" name="Rectangle 36"/>
          <p:cNvSpPr>
            <a:spLocks noChangeArrowheads="1"/>
          </p:cNvSpPr>
          <p:nvPr/>
        </p:nvSpPr>
        <p:spPr bwMode="auto">
          <a:xfrm>
            <a:off x="6848475" y="2525711"/>
            <a:ext cx="1260000" cy="2700000"/>
          </a:xfrm>
          <a:prstGeom prst="rect">
            <a:avLst/>
          </a:prstGeom>
          <a:solidFill>
            <a:schemeClr val="accent1">
              <a:lumMod val="20000"/>
              <a:lumOff val="80000"/>
            </a:schemeClr>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74" name="AutoShape 37"/>
          <p:cNvSpPr>
            <a:spLocks noChangeArrowheads="1"/>
          </p:cNvSpPr>
          <p:nvPr/>
        </p:nvSpPr>
        <p:spPr bwMode="auto">
          <a:xfrm flipV="1">
            <a:off x="7249875" y="3351078"/>
            <a:ext cx="457200" cy="130175"/>
          </a:xfrm>
          <a:prstGeom prst="triangle">
            <a:avLst>
              <a:gd name="adj" fmla="val 50000"/>
            </a:avLst>
          </a:prstGeom>
          <a:solidFill>
            <a:srgbClr val="333F4C"/>
          </a:solidFill>
          <a:ln w="12700" algn="ctr">
            <a:solidFill>
              <a:schemeClr val="bg1"/>
            </a:solidFill>
            <a:miter lim="800000"/>
            <a:headEnd type="none" w="sm" len="sm"/>
            <a:tailEnd type="none" w="sm" len="sm"/>
          </a:ln>
        </p:spPr>
        <p:txBody>
          <a:bodyPr rot="10800000"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75" name="AutoShape 38"/>
          <p:cNvSpPr>
            <a:spLocks noChangeArrowheads="1"/>
          </p:cNvSpPr>
          <p:nvPr/>
        </p:nvSpPr>
        <p:spPr bwMode="auto">
          <a:xfrm>
            <a:off x="7249875" y="4268285"/>
            <a:ext cx="457200" cy="131763"/>
          </a:xfrm>
          <a:prstGeom prst="triangle">
            <a:avLst>
              <a:gd name="adj" fmla="val 50000"/>
            </a:avLst>
          </a:prstGeom>
          <a:solidFill>
            <a:srgbClr val="333F4C"/>
          </a:solidFill>
          <a:ln w="12700" algn="ctr">
            <a:solidFill>
              <a:schemeClr val="bg1"/>
            </a:solidFill>
            <a:miter lim="800000"/>
            <a:headEnd type="none" w="sm" len="sm"/>
            <a:tailEnd type="none" w="sm" len="sm"/>
          </a:ln>
        </p:spPr>
        <p:txBody>
          <a:bodyPr wrap="square" lIns="36000" tIns="36000" rIns="36000" bIns="36000" anchor="ctr"/>
          <a:lstStyle/>
          <a:p>
            <a:pPr algn="ctr"/>
            <a:endParaRPr lang="en-US" sz="1200">
              <a:solidFill>
                <a:schemeClr val="bg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78276" name="Rectangle 39"/>
          <p:cNvSpPr>
            <a:spLocks noChangeArrowheads="1"/>
          </p:cNvSpPr>
          <p:nvPr/>
        </p:nvSpPr>
        <p:spPr bwMode="auto">
          <a:xfrm>
            <a:off x="6938475" y="2597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Strategic options</a:t>
            </a:r>
          </a:p>
        </p:txBody>
      </p:sp>
      <p:sp>
        <p:nvSpPr>
          <p:cNvPr id="778277" name="Rectangle 40"/>
          <p:cNvSpPr>
            <a:spLocks noChangeArrowheads="1"/>
          </p:cNvSpPr>
          <p:nvPr/>
        </p:nvSpPr>
        <p:spPr bwMode="auto">
          <a:xfrm>
            <a:off x="6938475" y="4523562"/>
            <a:ext cx="1080000" cy="630000"/>
          </a:xfrm>
          <a:prstGeom prst="rect">
            <a:avLst/>
          </a:prstGeom>
          <a:solidFill>
            <a:schemeClr val="bg1"/>
          </a:solidFill>
          <a:ln w="12700">
            <a:solidFill>
              <a:schemeClr val="tx1"/>
            </a:solidFill>
            <a:miter lim="800000"/>
            <a:headEnd type="none" w="sm" len="sm"/>
            <a:tailEnd type="none" w="sm" len="sm"/>
          </a:ln>
        </p:spPr>
        <p:txBody>
          <a:bodyPr wrap="square" lIns="36000" tIns="36000" rIns="36000" bIns="36000" anchor="ctr"/>
          <a:lstStyle/>
          <a:p>
            <a:pPr algn="ct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Risk and reward</a:t>
            </a:r>
          </a:p>
        </p:txBody>
      </p:sp>
      <p:sp>
        <p:nvSpPr>
          <p:cNvPr id="778278" name="Oval 41"/>
          <p:cNvSpPr>
            <a:spLocks noChangeArrowheads="1"/>
          </p:cNvSpPr>
          <p:nvPr/>
        </p:nvSpPr>
        <p:spPr bwMode="auto">
          <a:xfrm>
            <a:off x="6884475" y="3604768"/>
            <a:ext cx="1188000" cy="540000"/>
          </a:xfrm>
          <a:prstGeom prst="ellipse">
            <a:avLst/>
          </a:prstGeom>
          <a:solidFill>
            <a:schemeClr val="accent3"/>
          </a:solidFill>
          <a:ln w="12700" algn="ctr">
            <a:solidFill>
              <a:schemeClr val="bg1"/>
            </a:solidFill>
            <a:round/>
            <a:headEnd type="none" w="sm" len="sm"/>
            <a:tailEnd type="none" w="sm" len="sm"/>
          </a:ln>
        </p:spPr>
        <p:txBody>
          <a:bodyPr wrap="square" lIns="18000" tIns="18000" rIns="18000" bIns="18000" anchor="ctr"/>
          <a:lstStyle/>
          <a:p>
            <a:pPr algn="ctr"/>
            <a:r>
              <a:rPr lang="en-US" altLang="ja-JP" sz="1200" dirty="0">
                <a:latin typeface="Microsoft Sans Serif" panose="020B0604020202020204" pitchFamily="34" charset="0"/>
                <a:ea typeface="Microsoft Sans Serif" panose="020B0604020202020204" pitchFamily="34" charset="0"/>
                <a:cs typeface="Microsoft Sans Serif" panose="020B0604020202020204" pitchFamily="34" charset="0"/>
              </a:rPr>
              <a:t>Strategic direction</a:t>
            </a:r>
          </a:p>
        </p:txBody>
      </p:sp>
      <p:sp>
        <p:nvSpPr>
          <p:cNvPr id="46" name="AutoShape 42"/>
          <p:cNvSpPr>
            <a:spLocks noChangeArrowheads="1"/>
          </p:cNvSpPr>
          <p:nvPr/>
        </p:nvSpPr>
        <p:spPr bwMode="auto">
          <a:xfrm>
            <a:off x="3873501" y="5440363"/>
            <a:ext cx="1819275" cy="576263"/>
          </a:xfrm>
          <a:prstGeom prst="chevron">
            <a:avLst>
              <a:gd name="adj" fmla="val 27802"/>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rPr>
              <a:t>Desk research and interviews</a:t>
            </a:r>
          </a:p>
        </p:txBody>
      </p:sp>
      <p:sp>
        <p:nvSpPr>
          <p:cNvPr id="47" name="AutoShape 43"/>
          <p:cNvSpPr>
            <a:spLocks noChangeArrowheads="1"/>
          </p:cNvSpPr>
          <p:nvPr/>
        </p:nvSpPr>
        <p:spPr bwMode="auto">
          <a:xfrm>
            <a:off x="2439988" y="5440363"/>
            <a:ext cx="1541462" cy="576263"/>
          </a:xfrm>
          <a:prstGeom prst="homePlate">
            <a:avLst>
              <a:gd name="adj" fmla="val 28686"/>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rPr>
              <a:t>Interviews and workshops</a:t>
            </a:r>
          </a:p>
        </p:txBody>
      </p:sp>
      <p:sp>
        <p:nvSpPr>
          <p:cNvPr id="48" name="AutoShape 44"/>
          <p:cNvSpPr>
            <a:spLocks noChangeArrowheads="1"/>
          </p:cNvSpPr>
          <p:nvPr/>
        </p:nvSpPr>
        <p:spPr bwMode="auto">
          <a:xfrm>
            <a:off x="5584825" y="5440363"/>
            <a:ext cx="2457450" cy="576263"/>
          </a:xfrm>
          <a:prstGeom prst="chevron">
            <a:avLst>
              <a:gd name="adj" fmla="val 29754"/>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rPr>
              <a:t>Workshops and analyses</a:t>
            </a:r>
          </a:p>
        </p:txBody>
      </p:sp>
      <p:sp>
        <p:nvSpPr>
          <p:cNvPr id="49" name="AutoShape 45"/>
          <p:cNvSpPr>
            <a:spLocks noChangeArrowheads="1"/>
          </p:cNvSpPr>
          <p:nvPr/>
        </p:nvSpPr>
        <p:spPr bwMode="auto">
          <a:xfrm>
            <a:off x="7934326" y="5440363"/>
            <a:ext cx="1998663" cy="576263"/>
          </a:xfrm>
          <a:prstGeom prst="chevron">
            <a:avLst>
              <a:gd name="adj" fmla="val 30967"/>
            </a:avLst>
          </a:prstGeom>
          <a:solidFill>
            <a:srgbClr val="8FFAA1"/>
          </a:solidFill>
          <a:ln w="12700" algn="ctr">
            <a:solidFill>
              <a:schemeClr val="bg1"/>
            </a:solidFill>
            <a:miter lim="800000"/>
            <a:headEnd type="none" w="sm" len="sm"/>
            <a:tailEnd type="none" w="sm" len="sm"/>
          </a:ln>
        </p:spPr>
        <p:txBody>
          <a:bodyPr wrap="square" lIns="36000" tIns="36000" rIns="36000" bIns="36000" anchor="ctr"/>
          <a:lstStyle/>
          <a:p>
            <a:pPr algn="ctr">
              <a:defRPr/>
            </a:pPr>
            <a:r>
              <a:rPr lang="en-US" altLang="ja-JP" sz="1200" b="1" dirty="0">
                <a:latin typeface="Microsoft Sans Serif" panose="020B0604020202020204" pitchFamily="34" charset="0"/>
                <a:ea typeface="Microsoft Sans Serif" panose="020B0604020202020204" pitchFamily="34" charset="0"/>
                <a:cs typeface="Microsoft Sans Serif" panose="020B0604020202020204" pitchFamily="34" charset="0"/>
              </a:rPr>
              <a:t>Business plan writing</a:t>
            </a:r>
          </a:p>
        </p:txBody>
      </p:sp>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6977" name="Title 1"/>
          <p:cNvSpPr>
            <a:spLocks noGrp="1"/>
          </p:cNvSpPr>
          <p:nvPr>
            <p:ph type="title"/>
          </p:nvPr>
        </p:nvSpPr>
        <p:spPr/>
        <p:txBody>
          <a:bodyPr/>
          <a:lstStyle/>
          <a:p>
            <a:r>
              <a:rPr lang="en-US" altLang="ja-JP" dirty="0"/>
              <a:t>Backward strategic planning framework</a:t>
            </a:r>
            <a:endParaRPr lang="en-US" dirty="0"/>
          </a:p>
        </p:txBody>
      </p:sp>
      <p:sp>
        <p:nvSpPr>
          <p:cNvPr id="2" name="Foliennummernplatzhalter 1">
            <a:extLst>
              <a:ext uri="{FF2B5EF4-FFF2-40B4-BE49-F238E27FC236}">
                <a16:creationId xmlns:a16="http://schemas.microsoft.com/office/drawing/2014/main" id="{6F9DD6C0-3FB8-4959-B0B5-3BF11927F804}"/>
              </a:ext>
            </a:extLst>
          </p:cNvPr>
          <p:cNvSpPr>
            <a:spLocks noGrp="1"/>
          </p:cNvSpPr>
          <p:nvPr>
            <p:ph type="sldNum" sz="quarter" idx="16"/>
          </p:nvPr>
        </p:nvSpPr>
        <p:spPr/>
        <p:txBody>
          <a:bodyPr/>
          <a:lstStyle/>
          <a:p>
            <a:fld id="{95CC1D26-A9BD-4BDE-BDD9-08EDBAE96860}" type="slidenum">
              <a:rPr lang="en-GB" smtClean="0"/>
              <a:pPr/>
              <a:t>28</a:t>
            </a:fld>
            <a:endParaRPr lang="en-GB" dirty="0"/>
          </a:p>
        </p:txBody>
      </p:sp>
      <p:sp>
        <p:nvSpPr>
          <p:cNvPr id="766979" name="Rectangle 3"/>
          <p:cNvSpPr>
            <a:spLocks noChangeArrowheads="1"/>
          </p:cNvSpPr>
          <p:nvPr/>
        </p:nvSpPr>
        <p:spPr bwMode="auto">
          <a:xfrm>
            <a:off x="5864949" y="6177088"/>
            <a:ext cx="343043" cy="15696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Time</a:t>
            </a:r>
          </a:p>
        </p:txBody>
      </p:sp>
      <p:sp>
        <p:nvSpPr>
          <p:cNvPr id="766980" name="Rectangle 4"/>
          <p:cNvSpPr>
            <a:spLocks noChangeArrowheads="1"/>
          </p:cNvSpPr>
          <p:nvPr/>
        </p:nvSpPr>
        <p:spPr bwMode="auto">
          <a:xfrm rot="-5400000">
            <a:off x="3194064" y="4485580"/>
            <a:ext cx="325410" cy="156966"/>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200" b="1"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Goal</a:t>
            </a:r>
          </a:p>
        </p:txBody>
      </p:sp>
      <p:sp>
        <p:nvSpPr>
          <p:cNvPr id="766981" name="Rectangle 5"/>
          <p:cNvSpPr>
            <a:spLocks noChangeArrowheads="1"/>
          </p:cNvSpPr>
          <p:nvPr/>
        </p:nvSpPr>
        <p:spPr bwMode="auto">
          <a:xfrm>
            <a:off x="5912654" y="4797426"/>
            <a:ext cx="1006686" cy="313932"/>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Actions driven </a:t>
            </a:r>
            <a:b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by strategy</a:t>
            </a:r>
          </a:p>
        </p:txBody>
      </p:sp>
      <p:sp>
        <p:nvSpPr>
          <p:cNvPr id="766982" name="Rectangle 6"/>
          <p:cNvSpPr>
            <a:spLocks noChangeArrowheads="1"/>
          </p:cNvSpPr>
          <p:nvPr/>
        </p:nvSpPr>
        <p:spPr bwMode="auto">
          <a:xfrm>
            <a:off x="3828752" y="5502276"/>
            <a:ext cx="714940" cy="313932"/>
          </a:xfrm>
          <a:prstGeom prst="rect">
            <a:avLst/>
          </a:prstGeom>
          <a:noFill/>
          <a:ln w="12700">
            <a:noFill/>
            <a:miter lim="800000"/>
            <a:headEnd/>
            <a:tailEnd/>
          </a:ln>
        </p:spPr>
        <p:txBody>
          <a:bodyPr wrap="none" lIns="0" tIns="0" rIns="0" bIns="0">
            <a:spAutoFit/>
          </a:bodyPr>
          <a:lstStyle/>
          <a:p>
            <a:pPr algn="ctr" defTabSz="903288">
              <a:lnSpc>
                <a:spcPct val="85000"/>
              </a:lnSpc>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Where are</a:t>
            </a:r>
            <a:b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b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 we now? </a:t>
            </a:r>
          </a:p>
        </p:txBody>
      </p:sp>
      <p:sp>
        <p:nvSpPr>
          <p:cNvPr id="766983" name="Line 7"/>
          <p:cNvSpPr>
            <a:spLocks noChangeShapeType="1"/>
          </p:cNvSpPr>
          <p:nvPr/>
        </p:nvSpPr>
        <p:spPr bwMode="auto">
          <a:xfrm flipH="1">
            <a:off x="3584575" y="6083300"/>
            <a:ext cx="4903788"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4" name="Line 8"/>
          <p:cNvSpPr>
            <a:spLocks noChangeShapeType="1"/>
          </p:cNvSpPr>
          <p:nvPr/>
        </p:nvSpPr>
        <p:spPr bwMode="auto">
          <a:xfrm>
            <a:off x="3600450" y="3060699"/>
            <a:ext cx="0" cy="302400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5" name="Line 9"/>
          <p:cNvSpPr>
            <a:spLocks noChangeShapeType="1"/>
          </p:cNvSpPr>
          <p:nvPr/>
        </p:nvSpPr>
        <p:spPr bwMode="auto">
          <a:xfrm>
            <a:off x="3608388" y="3511550"/>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6" name="Line 10"/>
          <p:cNvSpPr>
            <a:spLocks noChangeShapeType="1"/>
          </p:cNvSpPr>
          <p:nvPr/>
        </p:nvSpPr>
        <p:spPr bwMode="auto">
          <a:xfrm>
            <a:off x="3608388" y="3940175"/>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7" name="Line 11"/>
          <p:cNvSpPr>
            <a:spLocks noChangeShapeType="1"/>
          </p:cNvSpPr>
          <p:nvPr/>
        </p:nvSpPr>
        <p:spPr bwMode="auto">
          <a:xfrm>
            <a:off x="3608388" y="4368800"/>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8" name="Line 12"/>
          <p:cNvSpPr>
            <a:spLocks noChangeShapeType="1"/>
          </p:cNvSpPr>
          <p:nvPr/>
        </p:nvSpPr>
        <p:spPr bwMode="auto">
          <a:xfrm>
            <a:off x="3608388" y="4797425"/>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89" name="Line 13"/>
          <p:cNvSpPr>
            <a:spLocks noChangeShapeType="1"/>
          </p:cNvSpPr>
          <p:nvPr/>
        </p:nvSpPr>
        <p:spPr bwMode="auto">
          <a:xfrm>
            <a:off x="3608388" y="5226050"/>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90" name="Line 14"/>
          <p:cNvSpPr>
            <a:spLocks noChangeShapeType="1"/>
          </p:cNvSpPr>
          <p:nvPr/>
        </p:nvSpPr>
        <p:spPr bwMode="auto">
          <a:xfrm>
            <a:off x="3608388" y="5654675"/>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91" name="Line 15"/>
          <p:cNvSpPr>
            <a:spLocks noChangeShapeType="1"/>
          </p:cNvSpPr>
          <p:nvPr/>
        </p:nvSpPr>
        <p:spPr bwMode="auto">
          <a:xfrm>
            <a:off x="3608388" y="3082925"/>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92" name="Line 16"/>
          <p:cNvSpPr>
            <a:spLocks noChangeShapeType="1"/>
          </p:cNvSpPr>
          <p:nvPr/>
        </p:nvSpPr>
        <p:spPr bwMode="auto">
          <a:xfrm>
            <a:off x="3608388" y="6083300"/>
            <a:ext cx="54000" cy="0"/>
          </a:xfrm>
          <a:prstGeom prst="line">
            <a:avLst/>
          </a:prstGeom>
          <a:noFill/>
          <a:ln w="12700">
            <a:solidFill>
              <a:schemeClr val="tx1"/>
            </a:solidFill>
            <a:round/>
            <a:headEnd/>
            <a:tailEnd/>
          </a:ln>
        </p:spPr>
        <p:txBody>
          <a:bodyPr wrap="square" lIns="36000" tIns="36000" rIns="36000" bIns="36000" anchor="ctr"/>
          <a:lstStyle/>
          <a:p>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8" name="Oval 17"/>
          <p:cNvSpPr>
            <a:spLocks noChangeArrowheads="1"/>
          </p:cNvSpPr>
          <p:nvPr/>
        </p:nvSpPr>
        <p:spPr bwMode="auto">
          <a:xfrm>
            <a:off x="4933951" y="4814889"/>
            <a:ext cx="142875" cy="155575"/>
          </a:xfrm>
          <a:prstGeom prst="ellipse">
            <a:avLst/>
          </a:prstGeom>
          <a:solidFill>
            <a:schemeClr val="bg1"/>
          </a:solidFill>
          <a:ln w="19050">
            <a:solidFill>
              <a:schemeClr val="accent3"/>
            </a:solidFill>
            <a:round/>
            <a:headEnd/>
            <a:tailEnd/>
          </a:ln>
          <a:effectLst/>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19" name="Oval 18"/>
          <p:cNvSpPr>
            <a:spLocks noChangeArrowheads="1"/>
          </p:cNvSpPr>
          <p:nvPr/>
        </p:nvSpPr>
        <p:spPr bwMode="auto">
          <a:xfrm>
            <a:off x="5521325" y="4432301"/>
            <a:ext cx="141288" cy="155575"/>
          </a:xfrm>
          <a:prstGeom prst="ellipse">
            <a:avLst/>
          </a:prstGeom>
          <a:solidFill>
            <a:schemeClr val="bg1"/>
          </a:solidFill>
          <a:ln w="19050">
            <a:solidFill>
              <a:schemeClr val="accent3"/>
            </a:solidFill>
            <a:round/>
            <a:headEnd/>
            <a:tailEnd/>
          </a:ln>
          <a:effectLst/>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0" name="Oval 19"/>
          <p:cNvSpPr>
            <a:spLocks noChangeArrowheads="1"/>
          </p:cNvSpPr>
          <p:nvPr/>
        </p:nvSpPr>
        <p:spPr bwMode="auto">
          <a:xfrm>
            <a:off x="6132514" y="3997326"/>
            <a:ext cx="142875" cy="155575"/>
          </a:xfrm>
          <a:prstGeom prst="ellipse">
            <a:avLst/>
          </a:prstGeom>
          <a:solidFill>
            <a:schemeClr val="bg1"/>
          </a:solidFill>
          <a:ln w="19050">
            <a:solidFill>
              <a:schemeClr val="accent3"/>
            </a:solidFill>
            <a:round/>
            <a:headEnd/>
            <a:tailEnd/>
          </a:ln>
          <a:effectLst/>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96" name="Oval 20"/>
          <p:cNvSpPr>
            <a:spLocks noChangeArrowheads="1"/>
          </p:cNvSpPr>
          <p:nvPr/>
        </p:nvSpPr>
        <p:spPr bwMode="auto">
          <a:xfrm>
            <a:off x="6742113" y="3514725"/>
            <a:ext cx="144000" cy="144000"/>
          </a:xfrm>
          <a:prstGeom prst="ellipse">
            <a:avLst/>
          </a:prstGeom>
          <a:solidFill>
            <a:schemeClr val="accent1"/>
          </a:solidFill>
          <a:ln w="12700" algn="ctr">
            <a:solidFill>
              <a:schemeClr val="bg1"/>
            </a:solidFill>
            <a:round/>
            <a:headEnd/>
            <a:tailEnd/>
          </a:ln>
        </p:spPr>
        <p:txBody>
          <a:bodyPr wrap="square" lIns="36000" tIns="36000" rIns="36000" bIns="36000" anchor="ctr"/>
          <a:lstStyle/>
          <a:p>
            <a:pPr algn="ctr"/>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2" name="Arc 21"/>
          <p:cNvSpPr>
            <a:spLocks/>
          </p:cNvSpPr>
          <p:nvPr/>
        </p:nvSpPr>
        <p:spPr bwMode="auto">
          <a:xfrm rot="21300818">
            <a:off x="6343651" y="3749676"/>
            <a:ext cx="587375" cy="354013"/>
          </a:xfrm>
          <a:custGeom>
            <a:avLst/>
            <a:gdLst>
              <a:gd name="T0" fmla="*/ 2147483647 w 29823"/>
              <a:gd name="T1" fmla="*/ 0 h 23978"/>
              <a:gd name="T2" fmla="*/ 0 w 29823"/>
              <a:gd name="T3" fmla="*/ 2147483647 h 23978"/>
              <a:gd name="T4" fmla="*/ 2147483647 w 29823"/>
              <a:gd name="T5" fmla="*/ 1668163765 h 23978"/>
              <a:gd name="T6" fmla="*/ 0 60000 65536"/>
              <a:gd name="T7" fmla="*/ 0 60000 65536"/>
              <a:gd name="T8" fmla="*/ 0 60000 65536"/>
              <a:gd name="T9" fmla="*/ 0 w 29823"/>
              <a:gd name="T10" fmla="*/ 0 h 23978"/>
              <a:gd name="T11" fmla="*/ 29823 w 29823"/>
              <a:gd name="T12" fmla="*/ 23978 h 23978"/>
            </a:gdLst>
            <a:ahLst/>
            <a:cxnLst>
              <a:cxn ang="T6">
                <a:pos x="T0" y="T1"/>
              </a:cxn>
              <a:cxn ang="T7">
                <a:pos x="T2" y="T3"/>
              </a:cxn>
              <a:cxn ang="T8">
                <a:pos x="T4" y="T5"/>
              </a:cxn>
            </a:cxnLst>
            <a:rect l="T9" t="T10" r="T11" b="T12"/>
            <a:pathLst>
              <a:path w="29823" h="23978" fill="none" extrusionOk="0">
                <a:moveTo>
                  <a:pt x="29691" y="0"/>
                </a:moveTo>
                <a:cubicBezTo>
                  <a:pt x="29779" y="789"/>
                  <a:pt x="29823" y="1583"/>
                  <a:pt x="29823" y="2378"/>
                </a:cubicBezTo>
                <a:cubicBezTo>
                  <a:pt x="29823" y="14307"/>
                  <a:pt x="20152" y="23978"/>
                  <a:pt x="8223" y="23978"/>
                </a:cubicBezTo>
                <a:cubicBezTo>
                  <a:pt x="5402" y="23978"/>
                  <a:pt x="2608" y="23425"/>
                  <a:pt x="-1" y="22351"/>
                </a:cubicBezTo>
              </a:path>
              <a:path w="29823" h="23978" stroke="0" extrusionOk="0">
                <a:moveTo>
                  <a:pt x="29691" y="0"/>
                </a:moveTo>
                <a:cubicBezTo>
                  <a:pt x="29779" y="789"/>
                  <a:pt x="29823" y="1583"/>
                  <a:pt x="29823" y="2378"/>
                </a:cubicBezTo>
                <a:cubicBezTo>
                  <a:pt x="29823" y="14307"/>
                  <a:pt x="20152" y="23978"/>
                  <a:pt x="8223" y="23978"/>
                </a:cubicBezTo>
                <a:cubicBezTo>
                  <a:pt x="5402" y="23978"/>
                  <a:pt x="2608" y="23425"/>
                  <a:pt x="-1" y="22351"/>
                </a:cubicBezTo>
                <a:lnTo>
                  <a:pt x="8223" y="2378"/>
                </a:lnTo>
                <a:close/>
              </a:path>
            </a:pathLst>
          </a:custGeom>
          <a:noFill/>
          <a:ln w="19050" cap="rnd">
            <a:solidFill>
              <a:srgbClr val="C7FCD0"/>
            </a:solidFill>
            <a:round/>
            <a:headEnd type="none" w="sm" len="sm"/>
            <a:tailEnd type="triangle" w="lg" len="lg"/>
          </a:ln>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766998" name="Oval 22"/>
          <p:cNvSpPr>
            <a:spLocks noChangeArrowheads="1"/>
          </p:cNvSpPr>
          <p:nvPr/>
        </p:nvSpPr>
        <p:spPr bwMode="auto">
          <a:xfrm>
            <a:off x="4224338" y="5294313"/>
            <a:ext cx="144000" cy="144000"/>
          </a:xfrm>
          <a:prstGeom prst="ellipse">
            <a:avLst/>
          </a:prstGeom>
          <a:solidFill>
            <a:schemeClr val="tx1"/>
          </a:solidFill>
          <a:ln w="12700" algn="ctr">
            <a:solidFill>
              <a:schemeClr val="bg1"/>
            </a:solidFill>
            <a:round/>
            <a:headEnd/>
            <a:tailEnd/>
          </a:ln>
        </p:spPr>
        <p:txBody>
          <a:bodyPr wrap="square" lIns="36000" tIns="36000" rIns="36000" bIns="36000" anchor="ctr"/>
          <a:lstStyle/>
          <a:p>
            <a:pPr algn="ctr"/>
            <a:endParaRPr lang="en-US"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4" name="Arc 23"/>
          <p:cNvSpPr>
            <a:spLocks/>
          </p:cNvSpPr>
          <p:nvPr/>
        </p:nvSpPr>
        <p:spPr bwMode="auto">
          <a:xfrm rot="21173617">
            <a:off x="5745164" y="4233863"/>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C7FCD0"/>
            </a:solidFill>
            <a:round/>
            <a:headEnd type="none" w="sm" len="sm"/>
            <a:tailEnd type="triangle" w="lg" len="lg"/>
          </a:ln>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5" name="Arc 24"/>
          <p:cNvSpPr>
            <a:spLocks/>
          </p:cNvSpPr>
          <p:nvPr/>
        </p:nvSpPr>
        <p:spPr bwMode="auto">
          <a:xfrm rot="720000">
            <a:off x="4487863" y="3270250"/>
            <a:ext cx="2057400" cy="2171700"/>
          </a:xfrm>
          <a:custGeom>
            <a:avLst/>
            <a:gdLst>
              <a:gd name="T0" fmla="*/ 0 w 21600"/>
              <a:gd name="T1" fmla="*/ 2147483647 h 21600"/>
              <a:gd name="T2" fmla="*/ 2147483647 w 21600"/>
              <a:gd name="T3" fmla="*/ 0 h 21600"/>
              <a:gd name="T4" fmla="*/ 2147483647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77"/>
                  <a:pt x="9660" y="9"/>
                  <a:pt x="21583" y="0"/>
                </a:cubicBezTo>
              </a:path>
              <a:path w="21600" h="21600" stroke="0" extrusionOk="0">
                <a:moveTo>
                  <a:pt x="0" y="21600"/>
                </a:moveTo>
                <a:cubicBezTo>
                  <a:pt x="0" y="9677"/>
                  <a:pt x="9660" y="9"/>
                  <a:pt x="21583" y="0"/>
                </a:cubicBezTo>
                <a:lnTo>
                  <a:pt x="21600" y="21600"/>
                </a:lnTo>
                <a:close/>
              </a:path>
            </a:pathLst>
          </a:custGeom>
          <a:noFill/>
          <a:ln w="19050" cap="rnd">
            <a:solidFill>
              <a:schemeClr val="tx1"/>
            </a:solidFill>
            <a:round/>
            <a:headEnd type="none" w="sm" len="sm"/>
            <a:tailEnd type="triangle" w="lg" len="lg"/>
          </a:ln>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6" name="Arc 25"/>
          <p:cNvSpPr>
            <a:spLocks/>
          </p:cNvSpPr>
          <p:nvPr/>
        </p:nvSpPr>
        <p:spPr bwMode="auto">
          <a:xfrm>
            <a:off x="5110164" y="4649788"/>
            <a:ext cx="585787" cy="385762"/>
          </a:xfrm>
          <a:custGeom>
            <a:avLst/>
            <a:gdLst>
              <a:gd name="T0" fmla="*/ 2147483647 w 29767"/>
              <a:gd name="T1" fmla="*/ 0 h 26228"/>
              <a:gd name="T2" fmla="*/ 0 w 29767"/>
              <a:gd name="T3" fmla="*/ 2147483647 h 26228"/>
              <a:gd name="T4" fmla="*/ 2147483647 w 29767"/>
              <a:gd name="T5" fmla="*/ 2147483647 h 26228"/>
              <a:gd name="T6" fmla="*/ 0 60000 65536"/>
              <a:gd name="T7" fmla="*/ 0 60000 65536"/>
              <a:gd name="T8" fmla="*/ 0 60000 65536"/>
              <a:gd name="T9" fmla="*/ 0 w 29767"/>
              <a:gd name="T10" fmla="*/ 0 h 26228"/>
              <a:gd name="T11" fmla="*/ 29767 w 29767"/>
              <a:gd name="T12" fmla="*/ 26228 h 26228"/>
            </a:gdLst>
            <a:ahLst/>
            <a:cxnLst>
              <a:cxn ang="T6">
                <a:pos x="T0" y="T1"/>
              </a:cxn>
              <a:cxn ang="T7">
                <a:pos x="T2" y="T3"/>
              </a:cxn>
              <a:cxn ang="T8">
                <a:pos x="T4" y="T5"/>
              </a:cxn>
            </a:cxnLst>
            <a:rect l="T9" t="T10" r="T11" b="T12"/>
            <a:pathLst>
              <a:path w="29767" h="26228" fill="none" extrusionOk="0">
                <a:moveTo>
                  <a:pt x="29265" y="-1"/>
                </a:moveTo>
                <a:cubicBezTo>
                  <a:pt x="29598" y="1520"/>
                  <a:pt x="29767" y="3071"/>
                  <a:pt x="29767" y="4628"/>
                </a:cubicBezTo>
                <a:cubicBezTo>
                  <a:pt x="29767" y="16557"/>
                  <a:pt x="20096" y="26228"/>
                  <a:pt x="8167" y="26228"/>
                </a:cubicBezTo>
                <a:cubicBezTo>
                  <a:pt x="5366" y="26228"/>
                  <a:pt x="2592" y="25683"/>
                  <a:pt x="-1" y="24624"/>
                </a:cubicBezTo>
              </a:path>
              <a:path w="29767" h="26228" stroke="0" extrusionOk="0">
                <a:moveTo>
                  <a:pt x="29265" y="-1"/>
                </a:moveTo>
                <a:cubicBezTo>
                  <a:pt x="29598" y="1520"/>
                  <a:pt x="29767" y="3071"/>
                  <a:pt x="29767" y="4628"/>
                </a:cubicBezTo>
                <a:cubicBezTo>
                  <a:pt x="29767" y="16557"/>
                  <a:pt x="20096" y="26228"/>
                  <a:pt x="8167" y="26228"/>
                </a:cubicBezTo>
                <a:cubicBezTo>
                  <a:pt x="5366" y="26228"/>
                  <a:pt x="2592" y="25683"/>
                  <a:pt x="-1" y="24624"/>
                </a:cubicBezTo>
                <a:lnTo>
                  <a:pt x="8167" y="4628"/>
                </a:lnTo>
                <a:close/>
              </a:path>
            </a:pathLst>
          </a:custGeom>
          <a:noFill/>
          <a:ln w="19050" cap="rnd">
            <a:solidFill>
              <a:srgbClr val="C7FCD0"/>
            </a:solidFill>
            <a:round/>
            <a:headEnd type="none" w="sm" len="sm"/>
            <a:tailEnd type="triangle" w="lg" len="lg"/>
          </a:ln>
        </p:spPr>
        <p:txBody>
          <a:bodyPr wrap="square" lIns="36000" tIns="36000" rIns="36000" bIns="36000" anchor="ctr"/>
          <a:lstStyle/>
          <a:p>
            <a:pPr algn="ctr">
              <a:defRPr/>
            </a:pPr>
            <a:endParaRPr lang="en-US"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27" name="Oval 26"/>
          <p:cNvSpPr>
            <a:spLocks noChangeArrowheads="1"/>
          </p:cNvSpPr>
          <p:nvPr/>
        </p:nvSpPr>
        <p:spPr bwMode="auto">
          <a:xfrm>
            <a:off x="2157413" y="1603839"/>
            <a:ext cx="2755900" cy="766763"/>
          </a:xfrm>
          <a:prstGeom prst="ellipse">
            <a:avLst/>
          </a:prstGeom>
          <a:solidFill>
            <a:srgbClr val="F0F0F0"/>
          </a:solidFill>
          <a:ln w="12700" algn="ctr">
            <a:solidFill>
              <a:srgbClr val="F0F0F0"/>
            </a:solidFill>
            <a:round/>
            <a:headEnd/>
            <a:tailEnd/>
          </a:ln>
        </p:spPr>
        <p:txBody>
          <a:bodyPr wrap="square" lIns="36000" tIns="36000" rIns="36000" bIns="36000" anchor="ctr"/>
          <a:lstStyle/>
          <a:p>
            <a:pPr marL="173038" indent="-173038" algn="ctr">
              <a:tabLst>
                <a:tab pos="1079500" algn="l"/>
              </a:tabLst>
              <a:defRPr/>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Mission: Why are we in business?</a:t>
            </a:r>
          </a:p>
        </p:txBody>
      </p:sp>
      <p:sp>
        <p:nvSpPr>
          <p:cNvPr id="28" name="Oval 27"/>
          <p:cNvSpPr>
            <a:spLocks noChangeArrowheads="1"/>
          </p:cNvSpPr>
          <p:nvPr/>
        </p:nvSpPr>
        <p:spPr bwMode="auto">
          <a:xfrm>
            <a:off x="3340100" y="2213439"/>
            <a:ext cx="2755900" cy="766763"/>
          </a:xfrm>
          <a:prstGeom prst="ellipse">
            <a:avLst/>
          </a:prstGeom>
          <a:solidFill>
            <a:srgbClr val="F0F0F0"/>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Values: What are our enduring principles and beliefs?</a:t>
            </a:r>
          </a:p>
        </p:txBody>
      </p:sp>
      <p:sp>
        <p:nvSpPr>
          <p:cNvPr id="29" name="Oval 28"/>
          <p:cNvSpPr>
            <a:spLocks noChangeArrowheads="1"/>
          </p:cNvSpPr>
          <p:nvPr/>
        </p:nvSpPr>
        <p:spPr bwMode="auto">
          <a:xfrm>
            <a:off x="7221539" y="2213439"/>
            <a:ext cx="2757487" cy="766763"/>
          </a:xfrm>
          <a:prstGeom prst="ellipse">
            <a:avLst/>
          </a:prstGeom>
          <a:solidFill>
            <a:srgbClr val="F0F0F0"/>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Vision: Where do we want to be in 2030?</a:t>
            </a:r>
          </a:p>
        </p:txBody>
      </p:sp>
      <p:sp>
        <p:nvSpPr>
          <p:cNvPr id="30" name="Oval 29"/>
          <p:cNvSpPr>
            <a:spLocks noChangeArrowheads="1"/>
          </p:cNvSpPr>
          <p:nvPr/>
        </p:nvSpPr>
        <p:spPr bwMode="auto">
          <a:xfrm>
            <a:off x="7223125" y="4619626"/>
            <a:ext cx="2755900" cy="766763"/>
          </a:xfrm>
          <a:prstGeom prst="ellipse">
            <a:avLst/>
          </a:prstGeom>
          <a:solidFill>
            <a:srgbClr val="F0F0F0"/>
          </a:solidFill>
          <a:ln w="12700" algn="ctr">
            <a:solidFill>
              <a:schemeClr val="bg1"/>
            </a:solidFill>
            <a:round/>
            <a:headEnd/>
            <a:tailEnd/>
          </a:ln>
        </p:spPr>
        <p:txBody>
          <a:bodyPr wrap="square" lIns="36000" tIns="36000" rIns="36000" bIns="36000" anchor="ctr"/>
          <a:lstStyle/>
          <a:p>
            <a:pPr marL="173038" indent="-173038" algn="ctr">
              <a:tabLst>
                <a:tab pos="1079500" algn="l"/>
              </a:tabLst>
              <a:defRPr/>
            </a:pPr>
            <a:r>
              <a:rPr lang="en-US" altLang="ja-JP" sz="120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Strategy: How do we get there?</a:t>
            </a:r>
            <a:endParaRPr lang="en-US" altLang="ja-JP" sz="12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
          <p:cNvGraphicFramePr>
            <a:graphicFrameLocks noGrp="1"/>
          </p:cNvGraphicFramePr>
          <p:nvPr>
            <p:custDataLst>
              <p:tags r:id="rId1"/>
            </p:custDataLst>
            <p:extLst>
              <p:ext uri="{D42A27DB-BD31-4B8C-83A1-F6EECF244321}">
                <p14:modId xmlns:p14="http://schemas.microsoft.com/office/powerpoint/2010/main" val="1714092468"/>
              </p:ext>
            </p:extLst>
          </p:nvPr>
        </p:nvGraphicFramePr>
        <p:xfrm>
          <a:off x="1920874" y="1908175"/>
          <a:ext cx="8350254" cy="3729040"/>
        </p:xfrm>
        <a:graphic>
          <a:graphicData uri="http://schemas.openxmlformats.org/drawingml/2006/table">
            <a:tbl>
              <a:tblPr/>
              <a:tblGrid>
                <a:gridCol w="1593083">
                  <a:extLst>
                    <a:ext uri="{9D8B030D-6E8A-4147-A177-3AD203B41FA5}">
                      <a16:colId xmlns:a16="http://schemas.microsoft.com/office/drawing/2014/main" val="20000"/>
                    </a:ext>
                  </a:extLst>
                </a:gridCol>
                <a:gridCol w="1125470">
                  <a:extLst>
                    <a:ext uri="{9D8B030D-6E8A-4147-A177-3AD203B41FA5}">
                      <a16:colId xmlns:a16="http://schemas.microsoft.com/office/drawing/2014/main" val="20001"/>
                    </a:ext>
                  </a:extLst>
                </a:gridCol>
                <a:gridCol w="1170487">
                  <a:extLst>
                    <a:ext uri="{9D8B030D-6E8A-4147-A177-3AD203B41FA5}">
                      <a16:colId xmlns:a16="http://schemas.microsoft.com/office/drawing/2014/main" val="20002"/>
                    </a:ext>
                  </a:extLst>
                </a:gridCol>
                <a:gridCol w="1083354">
                  <a:extLst>
                    <a:ext uri="{9D8B030D-6E8A-4147-A177-3AD203B41FA5}">
                      <a16:colId xmlns:a16="http://schemas.microsoft.com/office/drawing/2014/main" val="20003"/>
                    </a:ext>
                  </a:extLst>
                </a:gridCol>
                <a:gridCol w="1125470">
                  <a:extLst>
                    <a:ext uri="{9D8B030D-6E8A-4147-A177-3AD203B41FA5}">
                      <a16:colId xmlns:a16="http://schemas.microsoft.com/office/drawing/2014/main" val="20004"/>
                    </a:ext>
                  </a:extLst>
                </a:gridCol>
                <a:gridCol w="1126920">
                  <a:extLst>
                    <a:ext uri="{9D8B030D-6E8A-4147-A177-3AD203B41FA5}">
                      <a16:colId xmlns:a16="http://schemas.microsoft.com/office/drawing/2014/main" val="20005"/>
                    </a:ext>
                  </a:extLst>
                </a:gridCol>
                <a:gridCol w="562735">
                  <a:extLst>
                    <a:ext uri="{9D8B030D-6E8A-4147-A177-3AD203B41FA5}">
                      <a16:colId xmlns:a16="http://schemas.microsoft.com/office/drawing/2014/main" val="20006"/>
                    </a:ext>
                  </a:extLst>
                </a:gridCol>
                <a:gridCol w="562735">
                  <a:extLst>
                    <a:ext uri="{9D8B030D-6E8A-4147-A177-3AD203B41FA5}">
                      <a16:colId xmlns:a16="http://schemas.microsoft.com/office/drawing/2014/main" val="20007"/>
                    </a:ext>
                  </a:extLst>
                </a:gridCol>
              </a:tblGrid>
              <a:tr h="490538">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67525" marT="73152" marB="73152"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762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ysClr val="windowText" lastClr="000000"/>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Subhead</a:t>
                      </a:r>
                    </a:p>
                  </a:txBody>
                  <a:tcPr marL="67525" marR="67525" marT="73152" marB="73152"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hMerge="1">
                  <a:txBody>
                    <a:bodyPr/>
                    <a:lstStyle/>
                    <a:p>
                      <a:endParaRPr lang="nl-NL"/>
                    </a:p>
                  </a:txBody>
                  <a:tcPr/>
                </a:tc>
                <a:extLst>
                  <a:ext uri="{0D108BD9-81ED-4DB2-BD59-A6C34878D82A}">
                    <a16:rowId xmlns:a16="http://schemas.microsoft.com/office/drawing/2014/main" val="10000"/>
                  </a:ext>
                </a:extLst>
              </a:tr>
              <a:tr h="647700">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no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6113">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64928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646113">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649288">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Microsoft Sans Serif" panose="020B0604020202020204" pitchFamily="34" charset="0"/>
                          <a:ea typeface="Microsoft Sans Serif" panose="020B0604020202020204" pitchFamily="34" charset="0"/>
                          <a:cs typeface="Microsoft Sans Serif" panose="020B0604020202020204" pitchFamily="34" charset="0"/>
                        </a:rPr>
                        <a:t>Row description</a:t>
                      </a:r>
                    </a:p>
                  </a:txBody>
                  <a:tcPr marL="67525" marR="67525" marT="128016" marB="128016" anchor="ctr" horzOverflow="overflow">
                    <a:lnL cap="flat">
                      <a:noFill/>
                    </a:lnL>
                    <a:lnR w="76200" cap="flat" cmpd="sng" algn="ctr">
                      <a:no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w="76200" cap="flat" cmpd="sng" algn="ctr">
                      <a:noFill/>
                      <a:prstDash val="solid"/>
                      <a:round/>
                      <a:headEnd type="none" w="med" len="med"/>
                      <a:tailEnd type="none" w="med" len="med"/>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gridSpan="2">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Microsoft Sans Serif" panose="020B0604020202020204" pitchFamily="34" charset="0"/>
                        <a:ea typeface="Microsoft Sans Serif" panose="020B0604020202020204" pitchFamily="34" charset="0"/>
                        <a:cs typeface="Microsoft Sans Serif" panose="020B0604020202020204" pitchFamily="34" charset="0"/>
                      </a:endParaRPr>
                    </a:p>
                  </a:txBody>
                  <a:tcPr marL="67525" marR="329184" marT="128016" marB="128016" anchor="ctr" horzOverflow="overflow">
                    <a:lnL>
                      <a:noFill/>
                    </a:lnL>
                    <a:lnR cap="flat">
                      <a:noFill/>
                    </a:lnR>
                    <a:lnT w="12700" cap="flat" cmpd="sng" algn="ctr">
                      <a:solidFill>
                        <a:srgbClr val="8C8C8C"/>
                      </a:solidFill>
                      <a:prstDash val="solid"/>
                      <a:round/>
                      <a:headEnd type="none" w="med" len="med"/>
                      <a:tailEnd type="none" w="med" len="med"/>
                    </a:lnT>
                    <a:lnB cap="flat">
                      <a:noFill/>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5"/>
                  </a:ext>
                </a:extLst>
              </a:tr>
            </a:tbl>
          </a:graphicData>
        </a:graphic>
      </p:graphicFrame>
      <p:sp>
        <p:nvSpPr>
          <p:cNvPr id="275516" name="Title 1"/>
          <p:cNvSpPr>
            <a:spLocks noGrp="1"/>
          </p:cNvSpPr>
          <p:nvPr>
            <p:ph type="title"/>
            <p:custDataLst>
              <p:tags r:id="rId2"/>
            </p:custDataLst>
          </p:nvPr>
        </p:nvSpPr>
        <p:spPr/>
        <p:txBody>
          <a:bodyPr/>
          <a:lstStyle/>
          <a:p>
            <a:r>
              <a:rPr lang="en-US" altLang="ja-JP" dirty="0"/>
              <a:t>Table with moons</a:t>
            </a:r>
            <a:endParaRPr lang="en-US" dirty="0"/>
          </a:p>
        </p:txBody>
      </p:sp>
      <p:sp>
        <p:nvSpPr>
          <p:cNvPr id="2" name="Foliennummernplatzhalter 1">
            <a:extLst>
              <a:ext uri="{FF2B5EF4-FFF2-40B4-BE49-F238E27FC236}">
                <a16:creationId xmlns:a16="http://schemas.microsoft.com/office/drawing/2014/main" id="{7EAEC88A-E717-4F48-9D6C-393205908662}"/>
              </a:ext>
            </a:extLst>
          </p:cNvPr>
          <p:cNvSpPr>
            <a:spLocks noGrp="1"/>
          </p:cNvSpPr>
          <p:nvPr>
            <p:ph type="sldNum" sz="quarter" idx="16"/>
          </p:nvPr>
        </p:nvSpPr>
        <p:spPr/>
        <p:txBody>
          <a:bodyPr/>
          <a:lstStyle/>
          <a:p>
            <a:fld id="{95CC1D26-A9BD-4BDE-BDD9-08EDBAE96860}" type="slidenum">
              <a:rPr lang="en-GB" smtClean="0"/>
              <a:pPr/>
              <a:t>29</a:t>
            </a:fld>
            <a:endParaRPr lang="en-GB" dirty="0"/>
          </a:p>
        </p:txBody>
      </p:sp>
      <p:graphicFrame>
        <p:nvGraphicFramePr>
          <p:cNvPr id="275458" name="Rectangle 2" hidden="1"/>
          <p:cNvGraphicFramePr>
            <a:graphicFrameLocks/>
          </p:cNvGraphicFramePr>
          <p:nvPr>
            <p:custDataLst>
              <p:tags r:id="rId3"/>
            </p:custDataLst>
          </p:nvPr>
        </p:nvGraphicFramePr>
        <p:xfrm>
          <a:off x="1524000" y="0"/>
          <a:ext cx="1460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7545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Oval 19"/>
          <p:cNvSpPr>
            <a:spLocks noChangeArrowheads="1"/>
          </p:cNvSpPr>
          <p:nvPr/>
        </p:nvSpPr>
        <p:spPr bwMode="auto">
          <a:xfrm>
            <a:off x="9552429"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121" name="Oval 20"/>
          <p:cNvSpPr>
            <a:spLocks noChangeArrowheads="1"/>
          </p:cNvSpPr>
          <p:nvPr/>
        </p:nvSpPr>
        <p:spPr bwMode="auto">
          <a:xfrm>
            <a:off x="9552429"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154" name="Oval 153"/>
          <p:cNvSpPr>
            <a:spLocks noChangeArrowheads="1"/>
          </p:cNvSpPr>
          <p:nvPr/>
        </p:nvSpPr>
        <p:spPr bwMode="auto">
          <a:xfrm>
            <a:off x="7303943"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157" name="Oval 156"/>
          <p:cNvSpPr>
            <a:spLocks noChangeArrowheads="1"/>
          </p:cNvSpPr>
          <p:nvPr/>
        </p:nvSpPr>
        <p:spPr bwMode="auto">
          <a:xfrm>
            <a:off x="7303943"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179" name="Oval 178"/>
          <p:cNvSpPr>
            <a:spLocks noChangeArrowheads="1"/>
          </p:cNvSpPr>
          <p:nvPr/>
        </p:nvSpPr>
        <p:spPr bwMode="auto">
          <a:xfrm>
            <a:off x="6179700"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180" name="Oval 179"/>
          <p:cNvSpPr>
            <a:spLocks noChangeArrowheads="1"/>
          </p:cNvSpPr>
          <p:nvPr/>
        </p:nvSpPr>
        <p:spPr bwMode="auto">
          <a:xfrm>
            <a:off x="6179700"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190" name="Oval 189"/>
          <p:cNvSpPr>
            <a:spLocks noChangeArrowheads="1"/>
          </p:cNvSpPr>
          <p:nvPr/>
        </p:nvSpPr>
        <p:spPr bwMode="auto">
          <a:xfrm>
            <a:off x="5055457"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191" name="Oval 190"/>
          <p:cNvSpPr>
            <a:spLocks noChangeArrowheads="1"/>
          </p:cNvSpPr>
          <p:nvPr/>
        </p:nvSpPr>
        <p:spPr bwMode="auto">
          <a:xfrm>
            <a:off x="5055457"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201" name="Oval 200"/>
          <p:cNvSpPr>
            <a:spLocks noChangeArrowheads="1"/>
          </p:cNvSpPr>
          <p:nvPr/>
        </p:nvSpPr>
        <p:spPr bwMode="auto">
          <a:xfrm>
            <a:off x="3931214"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202" name="Oval 201"/>
          <p:cNvSpPr>
            <a:spLocks noChangeArrowheads="1"/>
          </p:cNvSpPr>
          <p:nvPr/>
        </p:nvSpPr>
        <p:spPr bwMode="auto">
          <a:xfrm>
            <a:off x="3931214"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212" name="Oval 19"/>
          <p:cNvSpPr>
            <a:spLocks noChangeArrowheads="1"/>
          </p:cNvSpPr>
          <p:nvPr/>
        </p:nvSpPr>
        <p:spPr bwMode="auto">
          <a:xfrm>
            <a:off x="8428186" y="2592850"/>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213" name="Oval 20"/>
          <p:cNvSpPr>
            <a:spLocks noChangeArrowheads="1"/>
          </p:cNvSpPr>
          <p:nvPr/>
        </p:nvSpPr>
        <p:spPr bwMode="auto">
          <a:xfrm>
            <a:off x="8428186" y="5156255"/>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275551" name="Text Box 32"/>
          <p:cNvSpPr txBox="1">
            <a:spLocks noChangeArrowheads="1"/>
          </p:cNvSpPr>
          <p:nvPr/>
        </p:nvSpPr>
        <p:spPr bwMode="auto">
          <a:xfrm>
            <a:off x="8789654" y="6051200"/>
            <a:ext cx="426967" cy="226591"/>
          </a:xfrm>
          <a:prstGeom prst="rect">
            <a:avLst/>
          </a:prstGeom>
          <a:noFill/>
          <a:ln w="9525">
            <a:noFill/>
            <a:miter lim="800000"/>
            <a:headEnd type="none" w="sm" len="sm"/>
            <a:tailEnd type="none" w="sm" len="sm"/>
          </a:ln>
        </p:spPr>
        <p:txBody>
          <a:bodyPr wrap="none" lIns="36000" tIns="36000" rIns="36000" bIns="36000">
            <a:spAutoFit/>
          </a:bodyPr>
          <a:lstStyle/>
          <a:p>
            <a:r>
              <a:rPr lang="en-US" altLang="ja-JP" sz="10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strong</a:t>
            </a:r>
          </a:p>
        </p:txBody>
      </p:sp>
      <p:sp>
        <p:nvSpPr>
          <p:cNvPr id="275553" name="Text Box 34"/>
          <p:cNvSpPr txBox="1">
            <a:spLocks noChangeArrowheads="1"/>
          </p:cNvSpPr>
          <p:nvPr/>
        </p:nvSpPr>
        <p:spPr bwMode="auto">
          <a:xfrm>
            <a:off x="9781690" y="6051200"/>
            <a:ext cx="370862" cy="226591"/>
          </a:xfrm>
          <a:prstGeom prst="rect">
            <a:avLst/>
          </a:prstGeom>
          <a:noFill/>
          <a:ln w="9525">
            <a:noFill/>
            <a:miter lim="800000"/>
            <a:headEnd type="none" w="sm" len="sm"/>
            <a:tailEnd type="none" w="sm" len="sm"/>
          </a:ln>
        </p:spPr>
        <p:txBody>
          <a:bodyPr wrap="none" lIns="36000" tIns="36000" rIns="36000" bIns="36000">
            <a:spAutoFit/>
          </a:bodyPr>
          <a:lstStyle/>
          <a:p>
            <a:r>
              <a:rPr lang="en-US" altLang="ja-JP" sz="1000" dirty="0">
                <a:solidFill>
                  <a:srgbClr val="313131"/>
                </a:solidFill>
                <a:latin typeface="Microsoft Sans Serif" panose="020B0604020202020204" pitchFamily="34" charset="0"/>
                <a:ea typeface="Microsoft Sans Serif" panose="020B0604020202020204" pitchFamily="34" charset="0"/>
                <a:cs typeface="Microsoft Sans Serif" panose="020B0604020202020204" pitchFamily="34" charset="0"/>
              </a:rPr>
              <a:t>weak</a:t>
            </a:r>
          </a:p>
        </p:txBody>
      </p:sp>
      <p:sp>
        <p:nvSpPr>
          <p:cNvPr id="223" name="Oval 222"/>
          <p:cNvSpPr>
            <a:spLocks noChangeArrowheads="1"/>
          </p:cNvSpPr>
          <p:nvPr/>
        </p:nvSpPr>
        <p:spPr bwMode="auto">
          <a:xfrm>
            <a:off x="8465856" y="6020494"/>
            <a:ext cx="288000" cy="288000"/>
          </a:xfrm>
          <a:prstGeom prst="ellipse">
            <a:avLst/>
          </a:prstGeom>
          <a:solidFill>
            <a:schemeClr val="accent1"/>
          </a:solidFill>
          <a:ln w="12700">
            <a:solidFill>
              <a:schemeClr val="accent1"/>
            </a:solidFill>
            <a:round/>
            <a:headEnd/>
            <a:tailEnd/>
          </a:ln>
        </p:spPr>
        <p:txBody>
          <a:bodyPr wrap="none" anchor="ctr"/>
          <a:lstStyle/>
          <a:p>
            <a:pPr algn="ctr">
              <a:defRPr/>
            </a:pPr>
            <a:endParaRPr lang="en-US" dirty="0"/>
          </a:p>
        </p:txBody>
      </p:sp>
      <p:sp>
        <p:nvSpPr>
          <p:cNvPr id="224" name="Oval 223"/>
          <p:cNvSpPr>
            <a:spLocks noChangeArrowheads="1"/>
          </p:cNvSpPr>
          <p:nvPr/>
        </p:nvSpPr>
        <p:spPr bwMode="auto">
          <a:xfrm>
            <a:off x="9480422" y="6020494"/>
            <a:ext cx="288000" cy="288000"/>
          </a:xfrm>
          <a:prstGeom prst="ellipse">
            <a:avLst/>
          </a:prstGeom>
          <a:solidFill>
            <a:schemeClr val="bg1"/>
          </a:solidFill>
          <a:ln w="12700">
            <a:solidFill>
              <a:schemeClr val="accent1"/>
            </a:solidFill>
            <a:round/>
            <a:headEnd/>
            <a:tailEnd/>
          </a:ln>
        </p:spPr>
        <p:txBody>
          <a:bodyPr wrap="none" anchor="ctr"/>
          <a:lstStyle/>
          <a:p>
            <a:pPr algn="ctr">
              <a:defRPr/>
            </a:pPr>
            <a:endParaRPr lang="en-US" dirty="0"/>
          </a:p>
        </p:txBody>
      </p:sp>
      <p:sp>
        <p:nvSpPr>
          <p:cNvPr id="5" name="Teilkreis 4">
            <a:extLst>
              <a:ext uri="{FF2B5EF4-FFF2-40B4-BE49-F238E27FC236}">
                <a16:creationId xmlns:a16="http://schemas.microsoft.com/office/drawing/2014/main" id="{4E28E096-76D7-4643-A8BC-D57E0BD43E60}"/>
              </a:ext>
            </a:extLst>
          </p:cNvPr>
          <p:cNvSpPr/>
          <p:nvPr/>
        </p:nvSpPr>
        <p:spPr>
          <a:xfrm flipH="1">
            <a:off x="3931214" y="3249855"/>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0" name="Teilkreis 79">
            <a:extLst>
              <a:ext uri="{FF2B5EF4-FFF2-40B4-BE49-F238E27FC236}">
                <a16:creationId xmlns:a16="http://schemas.microsoft.com/office/drawing/2014/main" id="{7C654E55-3200-4676-9352-7ED09D6488E5}"/>
              </a:ext>
            </a:extLst>
          </p:cNvPr>
          <p:cNvSpPr/>
          <p:nvPr/>
        </p:nvSpPr>
        <p:spPr>
          <a:xfrm flipH="1">
            <a:off x="5055457" y="3244720"/>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1" name="Teilkreis 80">
            <a:extLst>
              <a:ext uri="{FF2B5EF4-FFF2-40B4-BE49-F238E27FC236}">
                <a16:creationId xmlns:a16="http://schemas.microsoft.com/office/drawing/2014/main" id="{78E9AF7F-2B33-487A-BDBA-DF380DC13CB5}"/>
              </a:ext>
            </a:extLst>
          </p:cNvPr>
          <p:cNvSpPr/>
          <p:nvPr/>
        </p:nvSpPr>
        <p:spPr>
          <a:xfrm flipH="1">
            <a:off x="6179700" y="3239585"/>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2" name="Teilkreis 81">
            <a:extLst>
              <a:ext uri="{FF2B5EF4-FFF2-40B4-BE49-F238E27FC236}">
                <a16:creationId xmlns:a16="http://schemas.microsoft.com/office/drawing/2014/main" id="{908FF5B3-5BBA-4207-98CB-4E2E9CF5282E}"/>
              </a:ext>
            </a:extLst>
          </p:cNvPr>
          <p:cNvSpPr/>
          <p:nvPr/>
        </p:nvSpPr>
        <p:spPr>
          <a:xfrm flipH="1">
            <a:off x="7303943" y="3246842"/>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3" name="Teilkreis 82">
            <a:extLst>
              <a:ext uri="{FF2B5EF4-FFF2-40B4-BE49-F238E27FC236}">
                <a16:creationId xmlns:a16="http://schemas.microsoft.com/office/drawing/2014/main" id="{EB9ABC2D-D72B-4A51-974D-76B142811DB6}"/>
              </a:ext>
            </a:extLst>
          </p:cNvPr>
          <p:cNvSpPr/>
          <p:nvPr/>
        </p:nvSpPr>
        <p:spPr>
          <a:xfrm flipH="1">
            <a:off x="8417084" y="3226443"/>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4" name="Teilkreis 83">
            <a:extLst>
              <a:ext uri="{FF2B5EF4-FFF2-40B4-BE49-F238E27FC236}">
                <a16:creationId xmlns:a16="http://schemas.microsoft.com/office/drawing/2014/main" id="{D4DEEB36-90F8-4B5E-9374-E04739CAD594}"/>
              </a:ext>
            </a:extLst>
          </p:cNvPr>
          <p:cNvSpPr/>
          <p:nvPr/>
        </p:nvSpPr>
        <p:spPr>
          <a:xfrm flipH="1">
            <a:off x="9552429" y="3236551"/>
            <a:ext cx="288000" cy="288000"/>
          </a:xfrm>
          <a:prstGeom prst="pi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6" name="Teilkreis 5">
            <a:extLst>
              <a:ext uri="{FF2B5EF4-FFF2-40B4-BE49-F238E27FC236}">
                <a16:creationId xmlns:a16="http://schemas.microsoft.com/office/drawing/2014/main" id="{CDEDB2E0-A30D-457C-8F87-3A7D3B471F5C}"/>
              </a:ext>
            </a:extLst>
          </p:cNvPr>
          <p:cNvSpPr/>
          <p:nvPr/>
        </p:nvSpPr>
        <p:spPr>
          <a:xfrm rot="16200000">
            <a:off x="3931214" y="3885272"/>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6" name="Teilkreis 85">
            <a:extLst>
              <a:ext uri="{FF2B5EF4-FFF2-40B4-BE49-F238E27FC236}">
                <a16:creationId xmlns:a16="http://schemas.microsoft.com/office/drawing/2014/main" id="{0B5EE56A-D91B-405B-9212-9AF8FD8D840B}"/>
              </a:ext>
            </a:extLst>
          </p:cNvPr>
          <p:cNvSpPr/>
          <p:nvPr/>
        </p:nvSpPr>
        <p:spPr>
          <a:xfrm rot="16200000">
            <a:off x="5051423" y="3889022"/>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7" name="Teilkreis 86">
            <a:extLst>
              <a:ext uri="{FF2B5EF4-FFF2-40B4-BE49-F238E27FC236}">
                <a16:creationId xmlns:a16="http://schemas.microsoft.com/office/drawing/2014/main" id="{D5A11768-CFDB-4C60-9574-D52CE3C79E01}"/>
              </a:ext>
            </a:extLst>
          </p:cNvPr>
          <p:cNvSpPr/>
          <p:nvPr/>
        </p:nvSpPr>
        <p:spPr>
          <a:xfrm rot="16200000">
            <a:off x="6179700" y="3898104"/>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8" name="Teilkreis 87">
            <a:extLst>
              <a:ext uri="{FF2B5EF4-FFF2-40B4-BE49-F238E27FC236}">
                <a16:creationId xmlns:a16="http://schemas.microsoft.com/office/drawing/2014/main" id="{77E74EBB-12A5-4B11-8C92-346F296A4782}"/>
              </a:ext>
            </a:extLst>
          </p:cNvPr>
          <p:cNvSpPr/>
          <p:nvPr/>
        </p:nvSpPr>
        <p:spPr>
          <a:xfrm rot="16200000">
            <a:off x="7307977" y="3889022"/>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89" name="Teilkreis 88">
            <a:extLst>
              <a:ext uri="{FF2B5EF4-FFF2-40B4-BE49-F238E27FC236}">
                <a16:creationId xmlns:a16="http://schemas.microsoft.com/office/drawing/2014/main" id="{883311B4-2EE6-4345-9A91-CD31D5E1A047}"/>
              </a:ext>
            </a:extLst>
          </p:cNvPr>
          <p:cNvSpPr/>
          <p:nvPr/>
        </p:nvSpPr>
        <p:spPr>
          <a:xfrm rot="16200000">
            <a:off x="8428186" y="3886395"/>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0" name="Teilkreis 89">
            <a:extLst>
              <a:ext uri="{FF2B5EF4-FFF2-40B4-BE49-F238E27FC236}">
                <a16:creationId xmlns:a16="http://schemas.microsoft.com/office/drawing/2014/main" id="{067A6CCB-0E4B-4517-8609-217CB6794AC0}"/>
              </a:ext>
            </a:extLst>
          </p:cNvPr>
          <p:cNvSpPr/>
          <p:nvPr/>
        </p:nvSpPr>
        <p:spPr>
          <a:xfrm rot="16200000">
            <a:off x="9556463" y="3875611"/>
            <a:ext cx="288000" cy="288000"/>
          </a:xfrm>
          <a:prstGeom prst="pie">
            <a:avLst>
              <a:gd name="adj1" fmla="val 0"/>
              <a:gd name="adj2" fmla="val 1077930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7" name="Teilkreis 6">
            <a:extLst>
              <a:ext uri="{FF2B5EF4-FFF2-40B4-BE49-F238E27FC236}">
                <a16:creationId xmlns:a16="http://schemas.microsoft.com/office/drawing/2014/main" id="{3A65703E-45C5-4866-B951-11668125F8AD}"/>
              </a:ext>
            </a:extLst>
          </p:cNvPr>
          <p:cNvSpPr/>
          <p:nvPr/>
        </p:nvSpPr>
        <p:spPr>
          <a:xfrm flipH="1">
            <a:off x="3931214" y="4598270"/>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3" name="Teilkreis 92">
            <a:extLst>
              <a:ext uri="{FF2B5EF4-FFF2-40B4-BE49-F238E27FC236}">
                <a16:creationId xmlns:a16="http://schemas.microsoft.com/office/drawing/2014/main" id="{46C63712-842C-4852-9A8C-752A51EF9DEC}"/>
              </a:ext>
            </a:extLst>
          </p:cNvPr>
          <p:cNvSpPr/>
          <p:nvPr/>
        </p:nvSpPr>
        <p:spPr>
          <a:xfrm flipH="1">
            <a:off x="5055457" y="4598270"/>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4" name="Teilkreis 93">
            <a:extLst>
              <a:ext uri="{FF2B5EF4-FFF2-40B4-BE49-F238E27FC236}">
                <a16:creationId xmlns:a16="http://schemas.microsoft.com/office/drawing/2014/main" id="{3BC6090F-32C6-4E97-8355-BC525C9A24EB}"/>
              </a:ext>
            </a:extLst>
          </p:cNvPr>
          <p:cNvSpPr/>
          <p:nvPr/>
        </p:nvSpPr>
        <p:spPr>
          <a:xfrm flipH="1">
            <a:off x="6179700" y="4598270"/>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5" name="Teilkreis 94">
            <a:extLst>
              <a:ext uri="{FF2B5EF4-FFF2-40B4-BE49-F238E27FC236}">
                <a16:creationId xmlns:a16="http://schemas.microsoft.com/office/drawing/2014/main" id="{BC5D663F-0923-45B4-8395-84B4FC4F9A5D}"/>
              </a:ext>
            </a:extLst>
          </p:cNvPr>
          <p:cNvSpPr/>
          <p:nvPr/>
        </p:nvSpPr>
        <p:spPr>
          <a:xfrm flipH="1">
            <a:off x="7307977" y="4598270"/>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6" name="Teilkreis 95">
            <a:extLst>
              <a:ext uri="{FF2B5EF4-FFF2-40B4-BE49-F238E27FC236}">
                <a16:creationId xmlns:a16="http://schemas.microsoft.com/office/drawing/2014/main" id="{FDE9324E-FECC-41A6-B852-99B3F70EFE92}"/>
              </a:ext>
            </a:extLst>
          </p:cNvPr>
          <p:cNvSpPr/>
          <p:nvPr/>
        </p:nvSpPr>
        <p:spPr>
          <a:xfrm flipH="1">
            <a:off x="8465856" y="4598270"/>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97" name="Teilkreis 96">
            <a:extLst>
              <a:ext uri="{FF2B5EF4-FFF2-40B4-BE49-F238E27FC236}">
                <a16:creationId xmlns:a16="http://schemas.microsoft.com/office/drawing/2014/main" id="{7E1D53CB-F645-426D-AEA7-2EADCA7F7AA4}"/>
              </a:ext>
            </a:extLst>
          </p:cNvPr>
          <p:cNvSpPr/>
          <p:nvPr/>
        </p:nvSpPr>
        <p:spPr>
          <a:xfrm flipH="1">
            <a:off x="9556463" y="4598152"/>
            <a:ext cx="288000" cy="288000"/>
          </a:xfrm>
          <a:prstGeom prst="pie">
            <a:avLst>
              <a:gd name="adj1" fmla="val 10800000"/>
              <a:gd name="adj2" fmla="val 1620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7DEE4F81-3339-4D5F-BDAC-1CB9122F4D1F}"/>
              </a:ext>
            </a:extLst>
          </p:cNvPr>
          <p:cNvSpPr>
            <a:spLocks noGrp="1"/>
          </p:cNvSpPr>
          <p:nvPr>
            <p:ph type="body" sz="quarter" idx="4294967295"/>
          </p:nvPr>
        </p:nvSpPr>
        <p:spPr>
          <a:xfrm>
            <a:off x="2611437" y="1729399"/>
            <a:ext cx="6969125" cy="4441825"/>
          </a:xfrm>
          <a:prstGeom prst="rect">
            <a:avLst/>
          </a:prstGeom>
        </p:spPr>
        <p:txBody>
          <a:bodyPr/>
          <a:lstStyle/>
          <a:p>
            <a:pPr>
              <a:lnSpc>
                <a:spcPct val="150000"/>
              </a:lnSpc>
            </a:pPr>
            <a:r>
              <a:rPr lang="en-GB" sz="2000" b="1" dirty="0">
                <a:latin typeface="Century" panose="02040604050505020304" pitchFamily="18" charset="0"/>
              </a:rPr>
              <a:t>1. INITIAL SITUATION &amp; OBJECTIVES	03</a:t>
            </a:r>
          </a:p>
          <a:p>
            <a:pPr>
              <a:lnSpc>
                <a:spcPct val="150000"/>
              </a:lnSpc>
            </a:pPr>
            <a:r>
              <a:rPr lang="en-GB" sz="2000" b="1" dirty="0">
                <a:latin typeface="Century" panose="02040604050505020304" pitchFamily="18" charset="0"/>
              </a:rPr>
              <a:t>2. METHODOLOGICAL APPROACH	XX</a:t>
            </a:r>
          </a:p>
          <a:p>
            <a:pPr>
              <a:lnSpc>
                <a:spcPct val="150000"/>
              </a:lnSpc>
            </a:pPr>
            <a:r>
              <a:rPr lang="en-GB" sz="2000" b="1" dirty="0">
                <a:latin typeface="Century" panose="02040604050505020304" pitchFamily="18" charset="0"/>
              </a:rPr>
              <a:t>3. ROADMAP &amp; PROJECT PLAN		XX</a:t>
            </a:r>
          </a:p>
          <a:p>
            <a:pPr>
              <a:lnSpc>
                <a:spcPct val="150000"/>
              </a:lnSpc>
            </a:pPr>
            <a:r>
              <a:rPr lang="en-GB" sz="2000" b="1" dirty="0">
                <a:latin typeface="Century" panose="02040604050505020304" pitchFamily="18" charset="0"/>
              </a:rPr>
              <a:t>4. COMMERCIALS				XX</a:t>
            </a:r>
          </a:p>
          <a:p>
            <a:pPr>
              <a:lnSpc>
                <a:spcPct val="150000"/>
              </a:lnSpc>
            </a:pPr>
            <a:r>
              <a:rPr lang="en-GB" sz="2000" b="1" dirty="0">
                <a:latin typeface="Century" panose="02040604050505020304" pitchFamily="18" charset="0"/>
              </a:rPr>
              <a:t>5. ORDER CONFIRMATION		XX</a:t>
            </a:r>
          </a:p>
          <a:p>
            <a:pPr>
              <a:lnSpc>
                <a:spcPct val="150000"/>
              </a:lnSpc>
            </a:pPr>
            <a:r>
              <a:rPr lang="en-GB" sz="2000" b="1" dirty="0">
                <a:latin typeface="Century" panose="02040604050505020304" pitchFamily="18" charset="0"/>
              </a:rPr>
              <a:t>6. KLAITON USP				XX</a:t>
            </a:r>
          </a:p>
          <a:p>
            <a:pPr>
              <a:lnSpc>
                <a:spcPct val="150000"/>
              </a:lnSpc>
            </a:pPr>
            <a:r>
              <a:rPr lang="en-GB" sz="2000" b="1" dirty="0">
                <a:latin typeface="Century" panose="02040604050505020304" pitchFamily="18" charset="0"/>
              </a:rPr>
              <a:t>7. CONTACTS</a:t>
            </a:r>
            <a:r>
              <a:rPr lang="de-DE" sz="2000" b="1" dirty="0">
                <a:latin typeface="Century" panose="02040604050505020304" pitchFamily="18" charset="0"/>
              </a:rPr>
              <a:t>				XX</a:t>
            </a:r>
          </a:p>
          <a:p>
            <a:pPr>
              <a:lnSpc>
                <a:spcPct val="150000"/>
              </a:lnSpc>
            </a:pPr>
            <a:endParaRPr lang="de-DE" sz="1800" b="1" dirty="0">
              <a:latin typeface="Century" panose="02040604050505020304" pitchFamily="18" charset="0"/>
            </a:endParaRPr>
          </a:p>
          <a:p>
            <a:pPr marL="342900" indent="-342900">
              <a:lnSpc>
                <a:spcPct val="150000"/>
              </a:lnSpc>
              <a:buAutoNum type="arabicPeriod"/>
            </a:pPr>
            <a:endParaRPr lang="de-DE" sz="1800" b="1" dirty="0">
              <a:latin typeface="Century" panose="02040604050505020304" pitchFamily="18" charset="0"/>
            </a:endParaRPr>
          </a:p>
          <a:p>
            <a:pPr>
              <a:lnSpc>
                <a:spcPct val="150000"/>
              </a:lnSpc>
            </a:pPr>
            <a:endParaRPr lang="de-DE" sz="1800" b="1" dirty="0">
              <a:latin typeface="Century" panose="02040604050505020304" pitchFamily="18" charset="0"/>
            </a:endParaRPr>
          </a:p>
        </p:txBody>
      </p:sp>
      <p:sp>
        <p:nvSpPr>
          <p:cNvPr id="6" name="Legende mit Linie 1 4">
            <a:extLst>
              <a:ext uri="{FF2B5EF4-FFF2-40B4-BE49-F238E27FC236}">
                <a16:creationId xmlns:a16="http://schemas.microsoft.com/office/drawing/2014/main" id="{BF6CD806-AFAA-40BE-90C0-2F85ECC010DF}"/>
              </a:ext>
            </a:extLst>
          </p:cNvPr>
          <p:cNvSpPr/>
          <p:nvPr/>
        </p:nvSpPr>
        <p:spPr>
          <a:xfrm>
            <a:off x="8971278" y="4170055"/>
            <a:ext cx="2651773" cy="533167"/>
          </a:xfrm>
          <a:prstGeom prst="borderCallout1">
            <a:avLst>
              <a:gd name="adj1" fmla="val -142825"/>
              <a:gd name="adj2" fmla="val 5730"/>
              <a:gd name="adj3" fmla="val -3069"/>
              <a:gd name="adj4" fmla="val 49618"/>
            </a:avLst>
          </a:prstGeom>
          <a:solidFill>
            <a:srgbClr val="C7FCD0"/>
          </a:solidFill>
          <a:ln>
            <a:solidFill>
              <a:srgbClr val="333F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AT" sz="14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Update final </a:t>
            </a:r>
            <a:r>
              <a:rPr lang="de-AT" sz="1400" dirty="0" err="1">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page</a:t>
            </a:r>
            <a:r>
              <a:rPr lang="de-AT" sz="14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 </a:t>
            </a:r>
            <a:r>
              <a:rPr lang="de-AT" sz="1400" dirty="0" err="1">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rPr>
              <a:t>numbers</a:t>
            </a:r>
            <a:endParaRPr lang="de-AT" sz="1400" dirty="0">
              <a:solidFill>
                <a:schemeClr val="tx1"/>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9" name="Titel 8">
            <a:extLst>
              <a:ext uri="{FF2B5EF4-FFF2-40B4-BE49-F238E27FC236}">
                <a16:creationId xmlns:a16="http://schemas.microsoft.com/office/drawing/2014/main" id="{6DDC0D5F-C8B0-4957-8773-D30CE960339A}"/>
              </a:ext>
            </a:extLst>
          </p:cNvPr>
          <p:cNvSpPr>
            <a:spLocks noGrp="1"/>
          </p:cNvSpPr>
          <p:nvPr>
            <p:ph type="title"/>
          </p:nvPr>
        </p:nvSpPr>
        <p:spPr/>
        <p:txBody>
          <a:bodyPr/>
          <a:lstStyle/>
          <a:p>
            <a:r>
              <a:rPr lang="de-DE" dirty="0" err="1"/>
              <a:t>Overview</a:t>
            </a:r>
            <a:endParaRPr lang="de-AT" dirty="0"/>
          </a:p>
        </p:txBody>
      </p:sp>
      <p:sp>
        <p:nvSpPr>
          <p:cNvPr id="2" name="Foliennummernplatzhalter 1">
            <a:extLst>
              <a:ext uri="{FF2B5EF4-FFF2-40B4-BE49-F238E27FC236}">
                <a16:creationId xmlns:a16="http://schemas.microsoft.com/office/drawing/2014/main" id="{5F2D67EC-35E0-4ACD-AC99-9426FFAA9C45}"/>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3</a:t>
            </a:fld>
            <a:endParaRPr lang="de-DE" dirty="0"/>
          </a:p>
        </p:txBody>
      </p:sp>
    </p:spTree>
    <p:extLst>
      <p:ext uri="{BB962C8B-B14F-4D97-AF65-F5344CB8AC3E}">
        <p14:creationId xmlns:p14="http://schemas.microsoft.com/office/powerpoint/2010/main" val="36091816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729" name="Title 1"/>
          <p:cNvSpPr>
            <a:spLocks noGrp="1"/>
          </p:cNvSpPr>
          <p:nvPr>
            <p:ph type="title"/>
          </p:nvPr>
        </p:nvSpPr>
        <p:spPr/>
        <p:txBody>
          <a:bodyPr/>
          <a:lstStyle/>
          <a:p>
            <a:r>
              <a:rPr lang="en-US" dirty="0"/>
              <a:t>Germany</a:t>
            </a:r>
          </a:p>
        </p:txBody>
      </p:sp>
      <p:sp>
        <p:nvSpPr>
          <p:cNvPr id="2" name="Foliennummernplatzhalter 1">
            <a:extLst>
              <a:ext uri="{FF2B5EF4-FFF2-40B4-BE49-F238E27FC236}">
                <a16:creationId xmlns:a16="http://schemas.microsoft.com/office/drawing/2014/main" id="{183ACBF1-0F8B-4475-A8B7-55B8B0CB943E}"/>
              </a:ext>
            </a:extLst>
          </p:cNvPr>
          <p:cNvSpPr>
            <a:spLocks noGrp="1"/>
          </p:cNvSpPr>
          <p:nvPr>
            <p:ph type="sldNum" sz="quarter" idx="16"/>
          </p:nvPr>
        </p:nvSpPr>
        <p:spPr/>
        <p:txBody>
          <a:bodyPr/>
          <a:lstStyle/>
          <a:p>
            <a:fld id="{95CC1D26-A9BD-4BDE-BDD9-08EDBAE96860}" type="slidenum">
              <a:rPr lang="en-GB" smtClean="0"/>
              <a:pPr/>
              <a:t>30</a:t>
            </a:fld>
            <a:endParaRPr lang="en-GB" dirty="0"/>
          </a:p>
        </p:txBody>
      </p:sp>
      <p:grpSp>
        <p:nvGrpSpPr>
          <p:cNvPr id="11" name="Group 72"/>
          <p:cNvGrpSpPr/>
          <p:nvPr>
            <p:custDataLst>
              <p:tags r:id="rId1"/>
            </p:custDataLst>
          </p:nvPr>
        </p:nvGrpSpPr>
        <p:grpSpPr bwMode="gray">
          <a:xfrm>
            <a:off x="3935760" y="1433252"/>
            <a:ext cx="3649734" cy="4918444"/>
            <a:chOff x="2579655" y="974725"/>
            <a:chExt cx="4054694" cy="5464175"/>
          </a:xfrm>
          <a:solidFill>
            <a:schemeClr val="accent1"/>
          </a:solidFill>
        </p:grpSpPr>
        <p:sp>
          <p:nvSpPr>
            <p:cNvPr id="12" name="Freeform 11"/>
            <p:cNvSpPr/>
            <p:nvPr>
              <p:custDataLst>
                <p:tags r:id="rId2"/>
              </p:custDataLst>
            </p:nvPr>
          </p:nvSpPr>
          <p:spPr bwMode="gray">
            <a:xfrm>
              <a:off x="2579655" y="2746648"/>
              <a:ext cx="1587719" cy="1499103"/>
            </a:xfrm>
            <a:custGeom>
              <a:avLst/>
              <a:gdLst>
                <a:gd name="connsiteX0" fmla="*/ 563782 w 1587719"/>
                <a:gd name="connsiteY0" fmla="*/ 177527 h 1499103"/>
                <a:gd name="connsiteX1" fmla="*/ 673319 w 1587719"/>
                <a:gd name="connsiteY1" fmla="*/ 163240 h 1499103"/>
                <a:gd name="connsiteX2" fmla="*/ 697132 w 1587719"/>
                <a:gd name="connsiteY2" fmla="*/ 139427 h 1499103"/>
                <a:gd name="connsiteX3" fmla="*/ 725707 w 1587719"/>
                <a:gd name="connsiteY3" fmla="*/ 129902 h 1499103"/>
                <a:gd name="connsiteX4" fmla="*/ 739994 w 1587719"/>
                <a:gd name="connsiteY4" fmla="*/ 120377 h 1499103"/>
                <a:gd name="connsiteX5" fmla="*/ 768569 w 1587719"/>
                <a:gd name="connsiteY5" fmla="*/ 110852 h 1499103"/>
                <a:gd name="connsiteX6" fmla="*/ 782857 w 1587719"/>
                <a:gd name="connsiteY6" fmla="*/ 106090 h 1499103"/>
                <a:gd name="connsiteX7" fmla="*/ 787619 w 1587719"/>
                <a:gd name="connsiteY7" fmla="*/ 91802 h 1499103"/>
                <a:gd name="connsiteX8" fmla="*/ 806669 w 1587719"/>
                <a:gd name="connsiteY8" fmla="*/ 63227 h 1499103"/>
                <a:gd name="connsiteX9" fmla="*/ 792382 w 1587719"/>
                <a:gd name="connsiteY9" fmla="*/ 34652 h 1499103"/>
                <a:gd name="connsiteX10" fmla="*/ 797144 w 1587719"/>
                <a:gd name="connsiteY10" fmla="*/ 20365 h 1499103"/>
                <a:gd name="connsiteX11" fmla="*/ 825719 w 1587719"/>
                <a:gd name="connsiteY11" fmla="*/ 25127 h 1499103"/>
                <a:gd name="connsiteX12" fmla="*/ 844769 w 1587719"/>
                <a:gd name="connsiteY12" fmla="*/ 53702 h 1499103"/>
                <a:gd name="connsiteX13" fmla="*/ 863819 w 1587719"/>
                <a:gd name="connsiteY13" fmla="*/ 82277 h 1499103"/>
                <a:gd name="connsiteX14" fmla="*/ 878107 w 1587719"/>
                <a:gd name="connsiteY14" fmla="*/ 96565 h 1499103"/>
                <a:gd name="connsiteX15" fmla="*/ 935257 w 1587719"/>
                <a:gd name="connsiteY15" fmla="*/ 101327 h 1499103"/>
                <a:gd name="connsiteX16" fmla="*/ 949544 w 1587719"/>
                <a:gd name="connsiteY16" fmla="*/ 106090 h 1499103"/>
                <a:gd name="connsiteX17" fmla="*/ 959069 w 1587719"/>
                <a:gd name="connsiteY17" fmla="*/ 134665 h 1499103"/>
                <a:gd name="connsiteX18" fmla="*/ 944782 w 1587719"/>
                <a:gd name="connsiteY18" fmla="*/ 163240 h 1499103"/>
                <a:gd name="connsiteX19" fmla="*/ 949544 w 1587719"/>
                <a:gd name="connsiteY19" fmla="*/ 177527 h 1499103"/>
                <a:gd name="connsiteX20" fmla="*/ 944782 w 1587719"/>
                <a:gd name="connsiteY20" fmla="*/ 196577 h 1499103"/>
                <a:gd name="connsiteX21" fmla="*/ 944782 w 1587719"/>
                <a:gd name="connsiteY21" fmla="*/ 234677 h 1499103"/>
                <a:gd name="connsiteX22" fmla="*/ 959069 w 1587719"/>
                <a:gd name="connsiteY22" fmla="*/ 239440 h 1499103"/>
                <a:gd name="connsiteX23" fmla="*/ 968594 w 1587719"/>
                <a:gd name="connsiteY23" fmla="*/ 253727 h 1499103"/>
                <a:gd name="connsiteX24" fmla="*/ 954307 w 1587719"/>
                <a:gd name="connsiteY24" fmla="*/ 282302 h 1499103"/>
                <a:gd name="connsiteX25" fmla="*/ 940019 w 1587719"/>
                <a:gd name="connsiteY25" fmla="*/ 287065 h 1499103"/>
                <a:gd name="connsiteX26" fmla="*/ 930494 w 1587719"/>
                <a:gd name="connsiteY26" fmla="*/ 320402 h 1499103"/>
                <a:gd name="connsiteX27" fmla="*/ 959069 w 1587719"/>
                <a:gd name="connsiteY27" fmla="*/ 339452 h 1499103"/>
                <a:gd name="connsiteX28" fmla="*/ 982882 w 1587719"/>
                <a:gd name="connsiteY28" fmla="*/ 315640 h 1499103"/>
                <a:gd name="connsiteX29" fmla="*/ 1006694 w 1587719"/>
                <a:gd name="connsiteY29" fmla="*/ 320402 h 1499103"/>
                <a:gd name="connsiteX30" fmla="*/ 1059082 w 1587719"/>
                <a:gd name="connsiteY30" fmla="*/ 287065 h 1499103"/>
                <a:gd name="connsiteX31" fmla="*/ 1059082 w 1587719"/>
                <a:gd name="connsiteY31" fmla="*/ 287065 h 1499103"/>
                <a:gd name="connsiteX32" fmla="*/ 1087657 w 1587719"/>
                <a:gd name="connsiteY32" fmla="*/ 277540 h 1499103"/>
                <a:gd name="connsiteX33" fmla="*/ 1101944 w 1587719"/>
                <a:gd name="connsiteY33" fmla="*/ 272777 h 1499103"/>
                <a:gd name="connsiteX34" fmla="*/ 1120994 w 1587719"/>
                <a:gd name="connsiteY34" fmla="*/ 277540 h 1499103"/>
                <a:gd name="connsiteX35" fmla="*/ 1135282 w 1587719"/>
                <a:gd name="connsiteY35" fmla="*/ 287065 h 1499103"/>
                <a:gd name="connsiteX36" fmla="*/ 1149569 w 1587719"/>
                <a:gd name="connsiteY36" fmla="*/ 291827 h 1499103"/>
                <a:gd name="connsiteX37" fmla="*/ 1154332 w 1587719"/>
                <a:gd name="connsiteY37" fmla="*/ 272777 h 1499103"/>
                <a:gd name="connsiteX38" fmla="*/ 1178144 w 1587719"/>
                <a:gd name="connsiteY38" fmla="*/ 253727 h 1499103"/>
                <a:gd name="connsiteX39" fmla="*/ 1159094 w 1587719"/>
                <a:gd name="connsiteY39" fmla="*/ 210865 h 1499103"/>
                <a:gd name="connsiteX40" fmla="*/ 1163857 w 1587719"/>
                <a:gd name="connsiteY40" fmla="*/ 196577 h 1499103"/>
                <a:gd name="connsiteX41" fmla="*/ 1173382 w 1587719"/>
                <a:gd name="connsiteY41" fmla="*/ 182290 h 1499103"/>
                <a:gd name="connsiteX42" fmla="*/ 1182907 w 1587719"/>
                <a:gd name="connsiteY42" fmla="*/ 153715 h 1499103"/>
                <a:gd name="connsiteX43" fmla="*/ 1173382 w 1587719"/>
                <a:gd name="connsiteY43" fmla="*/ 139427 h 1499103"/>
                <a:gd name="connsiteX44" fmla="*/ 1154332 w 1587719"/>
                <a:gd name="connsiteY44" fmla="*/ 96565 h 1499103"/>
                <a:gd name="connsiteX45" fmla="*/ 1140044 w 1587719"/>
                <a:gd name="connsiteY45" fmla="*/ 91802 h 1499103"/>
                <a:gd name="connsiteX46" fmla="*/ 1125757 w 1587719"/>
                <a:gd name="connsiteY46" fmla="*/ 77515 h 1499103"/>
                <a:gd name="connsiteX47" fmla="*/ 1111469 w 1587719"/>
                <a:gd name="connsiteY47" fmla="*/ 67990 h 1499103"/>
                <a:gd name="connsiteX48" fmla="*/ 1101944 w 1587719"/>
                <a:gd name="connsiteY48" fmla="*/ 53702 h 1499103"/>
                <a:gd name="connsiteX49" fmla="*/ 1116232 w 1587719"/>
                <a:gd name="connsiteY49" fmla="*/ 48940 h 1499103"/>
                <a:gd name="connsiteX50" fmla="*/ 1144807 w 1587719"/>
                <a:gd name="connsiteY50" fmla="*/ 58465 h 1499103"/>
                <a:gd name="connsiteX51" fmla="*/ 1163857 w 1587719"/>
                <a:gd name="connsiteY51" fmla="*/ 53702 h 1499103"/>
                <a:gd name="connsiteX52" fmla="*/ 1182907 w 1587719"/>
                <a:gd name="connsiteY52" fmla="*/ 10840 h 1499103"/>
                <a:gd name="connsiteX53" fmla="*/ 1197194 w 1587719"/>
                <a:gd name="connsiteY53" fmla="*/ 6077 h 1499103"/>
                <a:gd name="connsiteX54" fmla="*/ 1244819 w 1587719"/>
                <a:gd name="connsiteY54" fmla="*/ 10840 h 1499103"/>
                <a:gd name="connsiteX55" fmla="*/ 1259107 w 1587719"/>
                <a:gd name="connsiteY55" fmla="*/ 1315 h 1499103"/>
                <a:gd name="connsiteX56" fmla="*/ 1287682 w 1587719"/>
                <a:gd name="connsiteY56" fmla="*/ 15602 h 1499103"/>
                <a:gd name="connsiteX57" fmla="*/ 1292444 w 1587719"/>
                <a:gd name="connsiteY57" fmla="*/ 87040 h 1499103"/>
                <a:gd name="connsiteX58" fmla="*/ 1297207 w 1587719"/>
                <a:gd name="connsiteY58" fmla="*/ 101327 h 1499103"/>
                <a:gd name="connsiteX59" fmla="*/ 1330544 w 1587719"/>
                <a:gd name="connsiteY59" fmla="*/ 96565 h 1499103"/>
                <a:gd name="connsiteX60" fmla="*/ 1363882 w 1587719"/>
                <a:gd name="connsiteY60" fmla="*/ 87040 h 1499103"/>
                <a:gd name="connsiteX61" fmla="*/ 1382932 w 1587719"/>
                <a:gd name="connsiteY61" fmla="*/ 82277 h 1499103"/>
                <a:gd name="connsiteX62" fmla="*/ 1416269 w 1587719"/>
                <a:gd name="connsiteY62" fmla="*/ 39415 h 1499103"/>
                <a:gd name="connsiteX63" fmla="*/ 1425794 w 1587719"/>
                <a:gd name="connsiteY63" fmla="*/ 25127 h 1499103"/>
                <a:gd name="connsiteX64" fmla="*/ 1440082 w 1587719"/>
                <a:gd name="connsiteY64" fmla="*/ 20365 h 1499103"/>
                <a:gd name="connsiteX65" fmla="*/ 1459132 w 1587719"/>
                <a:gd name="connsiteY65" fmla="*/ 25127 h 1499103"/>
                <a:gd name="connsiteX66" fmla="*/ 1454369 w 1587719"/>
                <a:gd name="connsiteY66" fmla="*/ 48940 h 1499103"/>
                <a:gd name="connsiteX67" fmla="*/ 1440082 w 1587719"/>
                <a:gd name="connsiteY67" fmla="*/ 120377 h 1499103"/>
                <a:gd name="connsiteX68" fmla="*/ 1425794 w 1587719"/>
                <a:gd name="connsiteY68" fmla="*/ 125140 h 1499103"/>
                <a:gd name="connsiteX69" fmla="*/ 1411507 w 1587719"/>
                <a:gd name="connsiteY69" fmla="*/ 139427 h 1499103"/>
                <a:gd name="connsiteX70" fmla="*/ 1406744 w 1587719"/>
                <a:gd name="connsiteY70" fmla="*/ 153715 h 1499103"/>
                <a:gd name="connsiteX71" fmla="*/ 1397219 w 1587719"/>
                <a:gd name="connsiteY71" fmla="*/ 168002 h 1499103"/>
                <a:gd name="connsiteX72" fmla="*/ 1401982 w 1587719"/>
                <a:gd name="connsiteY72" fmla="*/ 182290 h 1499103"/>
                <a:gd name="connsiteX73" fmla="*/ 1416269 w 1587719"/>
                <a:gd name="connsiteY73" fmla="*/ 187052 h 1499103"/>
                <a:gd name="connsiteX74" fmla="*/ 1430557 w 1587719"/>
                <a:gd name="connsiteY74" fmla="*/ 201340 h 1499103"/>
                <a:gd name="connsiteX75" fmla="*/ 1416269 w 1587719"/>
                <a:gd name="connsiteY75" fmla="*/ 239440 h 1499103"/>
                <a:gd name="connsiteX76" fmla="*/ 1401982 w 1587719"/>
                <a:gd name="connsiteY76" fmla="*/ 244202 h 1499103"/>
                <a:gd name="connsiteX77" fmla="*/ 1406744 w 1587719"/>
                <a:gd name="connsiteY77" fmla="*/ 258490 h 1499103"/>
                <a:gd name="connsiteX78" fmla="*/ 1416269 w 1587719"/>
                <a:gd name="connsiteY78" fmla="*/ 272777 h 1499103"/>
                <a:gd name="connsiteX79" fmla="*/ 1430557 w 1587719"/>
                <a:gd name="connsiteY79" fmla="*/ 277540 h 1499103"/>
                <a:gd name="connsiteX80" fmla="*/ 1463894 w 1587719"/>
                <a:gd name="connsiteY80" fmla="*/ 282302 h 1499103"/>
                <a:gd name="connsiteX81" fmla="*/ 1478182 w 1587719"/>
                <a:gd name="connsiteY81" fmla="*/ 291827 h 1499103"/>
                <a:gd name="connsiteX82" fmla="*/ 1478182 w 1587719"/>
                <a:gd name="connsiteY82" fmla="*/ 329927 h 1499103"/>
                <a:gd name="connsiteX83" fmla="*/ 1473419 w 1587719"/>
                <a:gd name="connsiteY83" fmla="*/ 344215 h 1499103"/>
                <a:gd name="connsiteX84" fmla="*/ 1487707 w 1587719"/>
                <a:gd name="connsiteY84" fmla="*/ 406127 h 1499103"/>
                <a:gd name="connsiteX85" fmla="*/ 1516282 w 1587719"/>
                <a:gd name="connsiteY85" fmla="*/ 425177 h 1499103"/>
                <a:gd name="connsiteX86" fmla="*/ 1544857 w 1587719"/>
                <a:gd name="connsiteY86" fmla="*/ 429940 h 1499103"/>
                <a:gd name="connsiteX87" fmla="*/ 1554382 w 1587719"/>
                <a:gd name="connsiteY87" fmla="*/ 444227 h 1499103"/>
                <a:gd name="connsiteX88" fmla="*/ 1554382 w 1587719"/>
                <a:gd name="connsiteY88" fmla="*/ 472802 h 1499103"/>
                <a:gd name="connsiteX89" fmla="*/ 1587719 w 1587719"/>
                <a:gd name="connsiteY89" fmla="*/ 491852 h 1499103"/>
                <a:gd name="connsiteX90" fmla="*/ 1582957 w 1587719"/>
                <a:gd name="connsiteY90" fmla="*/ 510902 h 1499103"/>
                <a:gd name="connsiteX91" fmla="*/ 1573432 w 1587719"/>
                <a:gd name="connsiteY91" fmla="*/ 539477 h 1499103"/>
                <a:gd name="connsiteX92" fmla="*/ 1563907 w 1587719"/>
                <a:gd name="connsiteY92" fmla="*/ 582340 h 1499103"/>
                <a:gd name="connsiteX93" fmla="*/ 1568669 w 1587719"/>
                <a:gd name="connsiteY93" fmla="*/ 625202 h 1499103"/>
                <a:gd name="connsiteX94" fmla="*/ 1563907 w 1587719"/>
                <a:gd name="connsiteY94" fmla="*/ 653777 h 1499103"/>
                <a:gd name="connsiteX95" fmla="*/ 1559144 w 1587719"/>
                <a:gd name="connsiteY95" fmla="*/ 677590 h 1499103"/>
                <a:gd name="connsiteX96" fmla="*/ 1535332 w 1587719"/>
                <a:gd name="connsiteY96" fmla="*/ 701402 h 1499103"/>
                <a:gd name="connsiteX97" fmla="*/ 1521044 w 1587719"/>
                <a:gd name="connsiteY97" fmla="*/ 715690 h 1499103"/>
                <a:gd name="connsiteX98" fmla="*/ 1506757 w 1587719"/>
                <a:gd name="connsiteY98" fmla="*/ 725215 h 1499103"/>
                <a:gd name="connsiteX99" fmla="*/ 1463894 w 1587719"/>
                <a:gd name="connsiteY99" fmla="*/ 763315 h 1499103"/>
                <a:gd name="connsiteX100" fmla="*/ 1449607 w 1587719"/>
                <a:gd name="connsiteY100" fmla="*/ 768077 h 1499103"/>
                <a:gd name="connsiteX101" fmla="*/ 1421032 w 1587719"/>
                <a:gd name="connsiteY101" fmla="*/ 749027 h 1499103"/>
                <a:gd name="connsiteX102" fmla="*/ 1411507 w 1587719"/>
                <a:gd name="connsiteY102" fmla="*/ 710927 h 1499103"/>
                <a:gd name="connsiteX103" fmla="*/ 1392457 w 1587719"/>
                <a:gd name="connsiteY103" fmla="*/ 706165 h 1499103"/>
                <a:gd name="connsiteX104" fmla="*/ 1354357 w 1587719"/>
                <a:gd name="connsiteY104" fmla="*/ 739502 h 1499103"/>
                <a:gd name="connsiteX105" fmla="*/ 1359119 w 1587719"/>
                <a:gd name="connsiteY105" fmla="*/ 753790 h 1499103"/>
                <a:gd name="connsiteX106" fmla="*/ 1378169 w 1587719"/>
                <a:gd name="connsiteY106" fmla="*/ 782365 h 1499103"/>
                <a:gd name="connsiteX107" fmla="*/ 1373407 w 1587719"/>
                <a:gd name="connsiteY107" fmla="*/ 796652 h 1499103"/>
                <a:gd name="connsiteX108" fmla="*/ 1344832 w 1587719"/>
                <a:gd name="connsiteY108" fmla="*/ 810940 h 1499103"/>
                <a:gd name="connsiteX109" fmla="*/ 1278157 w 1587719"/>
                <a:gd name="connsiteY109" fmla="*/ 810940 h 1499103"/>
                <a:gd name="connsiteX110" fmla="*/ 1249582 w 1587719"/>
                <a:gd name="connsiteY110" fmla="*/ 820465 h 1499103"/>
                <a:gd name="connsiteX111" fmla="*/ 1235294 w 1587719"/>
                <a:gd name="connsiteY111" fmla="*/ 825227 h 1499103"/>
                <a:gd name="connsiteX112" fmla="*/ 1221007 w 1587719"/>
                <a:gd name="connsiteY112" fmla="*/ 834752 h 1499103"/>
                <a:gd name="connsiteX113" fmla="*/ 1216244 w 1587719"/>
                <a:gd name="connsiteY113" fmla="*/ 849040 h 1499103"/>
                <a:gd name="connsiteX114" fmla="*/ 1201957 w 1587719"/>
                <a:gd name="connsiteY114" fmla="*/ 863327 h 1499103"/>
                <a:gd name="connsiteX115" fmla="*/ 1206719 w 1587719"/>
                <a:gd name="connsiteY115" fmla="*/ 887140 h 1499103"/>
                <a:gd name="connsiteX116" fmla="*/ 1211482 w 1587719"/>
                <a:gd name="connsiteY116" fmla="*/ 901427 h 1499103"/>
                <a:gd name="connsiteX117" fmla="*/ 1240057 w 1587719"/>
                <a:gd name="connsiteY117" fmla="*/ 891902 h 1499103"/>
                <a:gd name="connsiteX118" fmla="*/ 1254344 w 1587719"/>
                <a:gd name="connsiteY118" fmla="*/ 887140 h 1499103"/>
                <a:gd name="connsiteX119" fmla="*/ 1268632 w 1587719"/>
                <a:gd name="connsiteY119" fmla="*/ 882377 h 1499103"/>
                <a:gd name="connsiteX120" fmla="*/ 1287682 w 1587719"/>
                <a:gd name="connsiteY120" fmla="*/ 906190 h 1499103"/>
                <a:gd name="connsiteX121" fmla="*/ 1278157 w 1587719"/>
                <a:gd name="connsiteY121" fmla="*/ 934765 h 1499103"/>
                <a:gd name="connsiteX122" fmla="*/ 1273394 w 1587719"/>
                <a:gd name="connsiteY122" fmla="*/ 949052 h 1499103"/>
                <a:gd name="connsiteX123" fmla="*/ 1268632 w 1587719"/>
                <a:gd name="connsiteY123" fmla="*/ 977627 h 1499103"/>
                <a:gd name="connsiteX124" fmla="*/ 1263869 w 1587719"/>
                <a:gd name="connsiteY124" fmla="*/ 991915 h 1499103"/>
                <a:gd name="connsiteX125" fmla="*/ 1235294 w 1587719"/>
                <a:gd name="connsiteY125" fmla="*/ 1010965 h 1499103"/>
                <a:gd name="connsiteX126" fmla="*/ 1216244 w 1587719"/>
                <a:gd name="connsiteY126" fmla="*/ 1006202 h 1499103"/>
                <a:gd name="connsiteX127" fmla="*/ 1187669 w 1587719"/>
                <a:gd name="connsiteY127" fmla="*/ 996677 h 1499103"/>
                <a:gd name="connsiteX128" fmla="*/ 1178144 w 1587719"/>
                <a:gd name="connsiteY128" fmla="*/ 1010965 h 1499103"/>
                <a:gd name="connsiteX129" fmla="*/ 1187669 w 1587719"/>
                <a:gd name="connsiteY129" fmla="*/ 1063352 h 1499103"/>
                <a:gd name="connsiteX130" fmla="*/ 1173382 w 1587719"/>
                <a:gd name="connsiteY130" fmla="*/ 1077640 h 1499103"/>
                <a:gd name="connsiteX131" fmla="*/ 1159094 w 1587719"/>
                <a:gd name="connsiteY131" fmla="*/ 1082402 h 1499103"/>
                <a:gd name="connsiteX132" fmla="*/ 1154332 w 1587719"/>
                <a:gd name="connsiteY132" fmla="*/ 1096690 h 1499103"/>
                <a:gd name="connsiteX133" fmla="*/ 1140044 w 1587719"/>
                <a:gd name="connsiteY133" fmla="*/ 1110977 h 1499103"/>
                <a:gd name="connsiteX134" fmla="*/ 1120994 w 1587719"/>
                <a:gd name="connsiteY134" fmla="*/ 1139552 h 1499103"/>
                <a:gd name="connsiteX135" fmla="*/ 1116232 w 1587719"/>
                <a:gd name="connsiteY135" fmla="*/ 1168127 h 1499103"/>
                <a:gd name="connsiteX136" fmla="*/ 1087657 w 1587719"/>
                <a:gd name="connsiteY136" fmla="*/ 1158602 h 1499103"/>
                <a:gd name="connsiteX137" fmla="*/ 1068607 w 1587719"/>
                <a:gd name="connsiteY137" fmla="*/ 1153840 h 1499103"/>
                <a:gd name="connsiteX138" fmla="*/ 1040032 w 1587719"/>
                <a:gd name="connsiteY138" fmla="*/ 1168127 h 1499103"/>
                <a:gd name="connsiteX139" fmla="*/ 1030507 w 1587719"/>
                <a:gd name="connsiteY139" fmla="*/ 1182415 h 1499103"/>
                <a:gd name="connsiteX140" fmla="*/ 1016219 w 1587719"/>
                <a:gd name="connsiteY140" fmla="*/ 1196702 h 1499103"/>
                <a:gd name="connsiteX141" fmla="*/ 1011457 w 1587719"/>
                <a:gd name="connsiteY141" fmla="*/ 1210990 h 1499103"/>
                <a:gd name="connsiteX142" fmla="*/ 997169 w 1587719"/>
                <a:gd name="connsiteY142" fmla="*/ 1225277 h 1499103"/>
                <a:gd name="connsiteX143" fmla="*/ 1006694 w 1587719"/>
                <a:gd name="connsiteY143" fmla="*/ 1253852 h 1499103"/>
                <a:gd name="connsiteX144" fmla="*/ 1001932 w 1587719"/>
                <a:gd name="connsiteY144" fmla="*/ 1268140 h 1499103"/>
                <a:gd name="connsiteX145" fmla="*/ 973357 w 1587719"/>
                <a:gd name="connsiteY145" fmla="*/ 1277665 h 1499103"/>
                <a:gd name="connsiteX146" fmla="*/ 954307 w 1587719"/>
                <a:gd name="connsiteY146" fmla="*/ 1253852 h 1499103"/>
                <a:gd name="connsiteX147" fmla="*/ 940019 w 1587719"/>
                <a:gd name="connsiteY147" fmla="*/ 1239565 h 1499103"/>
                <a:gd name="connsiteX148" fmla="*/ 930494 w 1587719"/>
                <a:gd name="connsiteY148" fmla="*/ 1225277 h 1499103"/>
                <a:gd name="connsiteX149" fmla="*/ 925732 w 1587719"/>
                <a:gd name="connsiteY149" fmla="*/ 1210990 h 1499103"/>
                <a:gd name="connsiteX150" fmla="*/ 925732 w 1587719"/>
                <a:gd name="connsiteY150" fmla="*/ 1182415 h 1499103"/>
                <a:gd name="connsiteX151" fmla="*/ 911444 w 1587719"/>
                <a:gd name="connsiteY151" fmla="*/ 1168127 h 1499103"/>
                <a:gd name="connsiteX152" fmla="*/ 882869 w 1587719"/>
                <a:gd name="connsiteY152" fmla="*/ 1149077 h 1499103"/>
                <a:gd name="connsiteX153" fmla="*/ 873344 w 1587719"/>
                <a:gd name="connsiteY153" fmla="*/ 1134790 h 1499103"/>
                <a:gd name="connsiteX154" fmla="*/ 868582 w 1587719"/>
                <a:gd name="connsiteY154" fmla="*/ 1101452 h 1499103"/>
                <a:gd name="connsiteX155" fmla="*/ 849532 w 1587719"/>
                <a:gd name="connsiteY155" fmla="*/ 1106215 h 1499103"/>
                <a:gd name="connsiteX156" fmla="*/ 835244 w 1587719"/>
                <a:gd name="connsiteY156" fmla="*/ 1168127 h 1499103"/>
                <a:gd name="connsiteX157" fmla="*/ 825719 w 1587719"/>
                <a:gd name="connsiteY157" fmla="*/ 1182415 h 1499103"/>
                <a:gd name="connsiteX158" fmla="*/ 787619 w 1587719"/>
                <a:gd name="connsiteY158" fmla="*/ 1187177 h 1499103"/>
                <a:gd name="connsiteX159" fmla="*/ 797144 w 1587719"/>
                <a:gd name="connsiteY159" fmla="*/ 1215752 h 1499103"/>
                <a:gd name="connsiteX160" fmla="*/ 787619 w 1587719"/>
                <a:gd name="connsiteY160" fmla="*/ 1230040 h 1499103"/>
                <a:gd name="connsiteX161" fmla="*/ 768569 w 1587719"/>
                <a:gd name="connsiteY161" fmla="*/ 1234802 h 1499103"/>
                <a:gd name="connsiteX162" fmla="*/ 739994 w 1587719"/>
                <a:gd name="connsiteY162" fmla="*/ 1244327 h 1499103"/>
                <a:gd name="connsiteX163" fmla="*/ 711419 w 1587719"/>
                <a:gd name="connsiteY163" fmla="*/ 1258615 h 1499103"/>
                <a:gd name="connsiteX164" fmla="*/ 659032 w 1587719"/>
                <a:gd name="connsiteY164" fmla="*/ 1272902 h 1499103"/>
                <a:gd name="connsiteX165" fmla="*/ 654269 w 1587719"/>
                <a:gd name="connsiteY165" fmla="*/ 1287190 h 1499103"/>
                <a:gd name="connsiteX166" fmla="*/ 649507 w 1587719"/>
                <a:gd name="connsiteY166" fmla="*/ 1306240 h 1499103"/>
                <a:gd name="connsiteX167" fmla="*/ 582832 w 1587719"/>
                <a:gd name="connsiteY167" fmla="*/ 1320527 h 1499103"/>
                <a:gd name="connsiteX168" fmla="*/ 568544 w 1587719"/>
                <a:gd name="connsiteY168" fmla="*/ 1325290 h 1499103"/>
                <a:gd name="connsiteX169" fmla="*/ 539969 w 1587719"/>
                <a:gd name="connsiteY169" fmla="*/ 1339577 h 1499103"/>
                <a:gd name="connsiteX170" fmla="*/ 497107 w 1587719"/>
                <a:gd name="connsiteY170" fmla="*/ 1344340 h 1499103"/>
                <a:gd name="connsiteX171" fmla="*/ 468532 w 1587719"/>
                <a:gd name="connsiteY171" fmla="*/ 1358627 h 1499103"/>
                <a:gd name="connsiteX172" fmla="*/ 459007 w 1587719"/>
                <a:gd name="connsiteY172" fmla="*/ 1387202 h 1499103"/>
                <a:gd name="connsiteX173" fmla="*/ 439957 w 1587719"/>
                <a:gd name="connsiteY173" fmla="*/ 1415777 h 1499103"/>
                <a:gd name="connsiteX174" fmla="*/ 430432 w 1587719"/>
                <a:gd name="connsiteY174" fmla="*/ 1430065 h 1499103"/>
                <a:gd name="connsiteX175" fmla="*/ 401857 w 1587719"/>
                <a:gd name="connsiteY175" fmla="*/ 1439590 h 1499103"/>
                <a:gd name="connsiteX176" fmla="*/ 387569 w 1587719"/>
                <a:gd name="connsiteY176" fmla="*/ 1449115 h 1499103"/>
                <a:gd name="connsiteX177" fmla="*/ 368519 w 1587719"/>
                <a:gd name="connsiteY177" fmla="*/ 1496740 h 1499103"/>
                <a:gd name="connsiteX178" fmla="*/ 325657 w 1587719"/>
                <a:gd name="connsiteY178" fmla="*/ 1491977 h 1499103"/>
                <a:gd name="connsiteX179" fmla="*/ 311369 w 1587719"/>
                <a:gd name="connsiteY179" fmla="*/ 1477690 h 1499103"/>
                <a:gd name="connsiteX180" fmla="*/ 282794 w 1587719"/>
                <a:gd name="connsiteY180" fmla="*/ 1482452 h 1499103"/>
                <a:gd name="connsiteX181" fmla="*/ 235169 w 1587719"/>
                <a:gd name="connsiteY181" fmla="*/ 1477690 h 1499103"/>
                <a:gd name="connsiteX182" fmla="*/ 220882 w 1587719"/>
                <a:gd name="connsiteY182" fmla="*/ 1472927 h 1499103"/>
                <a:gd name="connsiteX183" fmla="*/ 192307 w 1587719"/>
                <a:gd name="connsiteY183" fmla="*/ 1468165 h 1499103"/>
                <a:gd name="connsiteX184" fmla="*/ 197069 w 1587719"/>
                <a:gd name="connsiteY184" fmla="*/ 1453877 h 1499103"/>
                <a:gd name="connsiteX185" fmla="*/ 206594 w 1587719"/>
                <a:gd name="connsiteY185" fmla="*/ 1439590 h 1499103"/>
                <a:gd name="connsiteX186" fmla="*/ 201832 w 1587719"/>
                <a:gd name="connsiteY186" fmla="*/ 1406252 h 1499103"/>
                <a:gd name="connsiteX187" fmla="*/ 187544 w 1587719"/>
                <a:gd name="connsiteY187" fmla="*/ 1396727 h 1499103"/>
                <a:gd name="connsiteX188" fmla="*/ 149444 w 1587719"/>
                <a:gd name="connsiteY188" fmla="*/ 1387202 h 1499103"/>
                <a:gd name="connsiteX189" fmla="*/ 135157 w 1587719"/>
                <a:gd name="connsiteY189" fmla="*/ 1377677 h 1499103"/>
                <a:gd name="connsiteX190" fmla="*/ 130394 w 1587719"/>
                <a:gd name="connsiteY190" fmla="*/ 1363390 h 1499103"/>
                <a:gd name="connsiteX191" fmla="*/ 144682 w 1587719"/>
                <a:gd name="connsiteY191" fmla="*/ 1306240 h 1499103"/>
                <a:gd name="connsiteX192" fmla="*/ 139919 w 1587719"/>
                <a:gd name="connsiteY192" fmla="*/ 1287190 h 1499103"/>
                <a:gd name="connsiteX193" fmla="*/ 111344 w 1587719"/>
                <a:gd name="connsiteY193" fmla="*/ 1272902 h 1499103"/>
                <a:gd name="connsiteX194" fmla="*/ 106582 w 1587719"/>
                <a:gd name="connsiteY194" fmla="*/ 1258615 h 1499103"/>
                <a:gd name="connsiteX195" fmla="*/ 97057 w 1587719"/>
                <a:gd name="connsiteY195" fmla="*/ 1220515 h 1499103"/>
                <a:gd name="connsiteX196" fmla="*/ 87532 w 1587719"/>
                <a:gd name="connsiteY196" fmla="*/ 1206227 h 1499103"/>
                <a:gd name="connsiteX197" fmla="*/ 73244 w 1587719"/>
                <a:gd name="connsiteY197" fmla="*/ 1201465 h 1499103"/>
                <a:gd name="connsiteX198" fmla="*/ 63719 w 1587719"/>
                <a:gd name="connsiteY198" fmla="*/ 1187177 h 1499103"/>
                <a:gd name="connsiteX199" fmla="*/ 63719 w 1587719"/>
                <a:gd name="connsiteY199" fmla="*/ 1149077 h 1499103"/>
                <a:gd name="connsiteX200" fmla="*/ 78007 w 1587719"/>
                <a:gd name="connsiteY200" fmla="*/ 1134790 h 1499103"/>
                <a:gd name="connsiteX201" fmla="*/ 87532 w 1587719"/>
                <a:gd name="connsiteY201" fmla="*/ 1120502 h 1499103"/>
                <a:gd name="connsiteX202" fmla="*/ 82769 w 1587719"/>
                <a:gd name="connsiteY202" fmla="*/ 1087165 h 1499103"/>
                <a:gd name="connsiteX203" fmla="*/ 63719 w 1587719"/>
                <a:gd name="connsiteY203" fmla="*/ 1058590 h 1499103"/>
                <a:gd name="connsiteX204" fmla="*/ 68482 w 1587719"/>
                <a:gd name="connsiteY204" fmla="*/ 1044302 h 1499103"/>
                <a:gd name="connsiteX205" fmla="*/ 54194 w 1587719"/>
                <a:gd name="connsiteY205" fmla="*/ 1039540 h 1499103"/>
                <a:gd name="connsiteX206" fmla="*/ 20857 w 1587719"/>
                <a:gd name="connsiteY206" fmla="*/ 1034777 h 1499103"/>
                <a:gd name="connsiteX207" fmla="*/ 6569 w 1587719"/>
                <a:gd name="connsiteY207" fmla="*/ 1025252 h 1499103"/>
                <a:gd name="connsiteX208" fmla="*/ 6569 w 1587719"/>
                <a:gd name="connsiteY208" fmla="*/ 991915 h 1499103"/>
                <a:gd name="connsiteX209" fmla="*/ 20857 w 1587719"/>
                <a:gd name="connsiteY209" fmla="*/ 987152 h 1499103"/>
                <a:gd name="connsiteX210" fmla="*/ 54194 w 1587719"/>
                <a:gd name="connsiteY210" fmla="*/ 972865 h 1499103"/>
                <a:gd name="connsiteX211" fmla="*/ 82769 w 1587719"/>
                <a:gd name="connsiteY211" fmla="*/ 963340 h 1499103"/>
                <a:gd name="connsiteX212" fmla="*/ 111344 w 1587719"/>
                <a:gd name="connsiteY212" fmla="*/ 944290 h 1499103"/>
                <a:gd name="connsiteX213" fmla="*/ 125632 w 1587719"/>
                <a:gd name="connsiteY213" fmla="*/ 934765 h 1499103"/>
                <a:gd name="connsiteX214" fmla="*/ 130394 w 1587719"/>
                <a:gd name="connsiteY214" fmla="*/ 896665 h 1499103"/>
                <a:gd name="connsiteX215" fmla="*/ 111344 w 1587719"/>
                <a:gd name="connsiteY215" fmla="*/ 891902 h 1499103"/>
                <a:gd name="connsiteX216" fmla="*/ 106582 w 1587719"/>
                <a:gd name="connsiteY216" fmla="*/ 877615 h 1499103"/>
                <a:gd name="connsiteX217" fmla="*/ 125632 w 1587719"/>
                <a:gd name="connsiteY217" fmla="*/ 849040 h 1499103"/>
                <a:gd name="connsiteX218" fmla="*/ 144682 w 1587719"/>
                <a:gd name="connsiteY218" fmla="*/ 820465 h 1499103"/>
                <a:gd name="connsiteX219" fmla="*/ 154207 w 1587719"/>
                <a:gd name="connsiteY219" fmla="*/ 806177 h 1499103"/>
                <a:gd name="connsiteX220" fmla="*/ 168494 w 1587719"/>
                <a:gd name="connsiteY220" fmla="*/ 749027 h 1499103"/>
                <a:gd name="connsiteX221" fmla="*/ 158969 w 1587719"/>
                <a:gd name="connsiteY221" fmla="*/ 663302 h 1499103"/>
                <a:gd name="connsiteX222" fmla="*/ 154207 w 1587719"/>
                <a:gd name="connsiteY222" fmla="*/ 639490 h 1499103"/>
                <a:gd name="connsiteX223" fmla="*/ 135157 w 1587719"/>
                <a:gd name="connsiteY223" fmla="*/ 610915 h 1499103"/>
                <a:gd name="connsiteX224" fmla="*/ 116107 w 1587719"/>
                <a:gd name="connsiteY224" fmla="*/ 563290 h 1499103"/>
                <a:gd name="connsiteX225" fmla="*/ 101819 w 1587719"/>
                <a:gd name="connsiteY225" fmla="*/ 558527 h 1499103"/>
                <a:gd name="connsiteX226" fmla="*/ 92294 w 1587719"/>
                <a:gd name="connsiteY226" fmla="*/ 544240 h 1499103"/>
                <a:gd name="connsiteX227" fmla="*/ 82769 w 1587719"/>
                <a:gd name="connsiteY227" fmla="*/ 506140 h 1499103"/>
                <a:gd name="connsiteX228" fmla="*/ 78007 w 1587719"/>
                <a:gd name="connsiteY228" fmla="*/ 487090 h 1499103"/>
                <a:gd name="connsiteX229" fmla="*/ 82769 w 1587719"/>
                <a:gd name="connsiteY229" fmla="*/ 458515 h 1499103"/>
                <a:gd name="connsiteX230" fmla="*/ 97057 w 1587719"/>
                <a:gd name="connsiteY230" fmla="*/ 453752 h 1499103"/>
                <a:gd name="connsiteX231" fmla="*/ 111344 w 1587719"/>
                <a:gd name="connsiteY231" fmla="*/ 444227 h 1499103"/>
                <a:gd name="connsiteX232" fmla="*/ 144682 w 1587719"/>
                <a:gd name="connsiteY232" fmla="*/ 434702 h 1499103"/>
                <a:gd name="connsiteX233" fmla="*/ 178019 w 1587719"/>
                <a:gd name="connsiteY233" fmla="*/ 425177 h 1499103"/>
                <a:gd name="connsiteX234" fmla="*/ 244694 w 1587719"/>
                <a:gd name="connsiteY234" fmla="*/ 434702 h 1499103"/>
                <a:gd name="connsiteX235" fmla="*/ 258982 w 1587719"/>
                <a:gd name="connsiteY235" fmla="*/ 444227 h 1499103"/>
                <a:gd name="connsiteX236" fmla="*/ 273269 w 1587719"/>
                <a:gd name="connsiteY236" fmla="*/ 439465 h 1499103"/>
                <a:gd name="connsiteX237" fmla="*/ 282794 w 1587719"/>
                <a:gd name="connsiteY237" fmla="*/ 425177 h 1499103"/>
                <a:gd name="connsiteX238" fmla="*/ 335182 w 1587719"/>
                <a:gd name="connsiteY238" fmla="*/ 420415 h 1499103"/>
                <a:gd name="connsiteX239" fmla="*/ 349469 w 1587719"/>
                <a:gd name="connsiteY239" fmla="*/ 415652 h 1499103"/>
                <a:gd name="connsiteX240" fmla="*/ 363757 w 1587719"/>
                <a:gd name="connsiteY240" fmla="*/ 406127 h 1499103"/>
                <a:gd name="connsiteX241" fmla="*/ 392332 w 1587719"/>
                <a:gd name="connsiteY241" fmla="*/ 401365 h 1499103"/>
                <a:gd name="connsiteX242" fmla="*/ 406619 w 1587719"/>
                <a:gd name="connsiteY242" fmla="*/ 406127 h 1499103"/>
                <a:gd name="connsiteX243" fmla="*/ 420907 w 1587719"/>
                <a:gd name="connsiteY243" fmla="*/ 415652 h 1499103"/>
                <a:gd name="connsiteX244" fmla="*/ 439957 w 1587719"/>
                <a:gd name="connsiteY244" fmla="*/ 410890 h 1499103"/>
                <a:gd name="connsiteX245" fmla="*/ 444719 w 1587719"/>
                <a:gd name="connsiteY245" fmla="*/ 396602 h 1499103"/>
                <a:gd name="connsiteX246" fmla="*/ 454244 w 1587719"/>
                <a:gd name="connsiteY246" fmla="*/ 358502 h 1499103"/>
                <a:gd name="connsiteX247" fmla="*/ 449482 w 1587719"/>
                <a:gd name="connsiteY247" fmla="*/ 344215 h 1499103"/>
                <a:gd name="connsiteX248" fmla="*/ 420907 w 1587719"/>
                <a:gd name="connsiteY248" fmla="*/ 320402 h 1499103"/>
                <a:gd name="connsiteX249" fmla="*/ 416144 w 1587719"/>
                <a:gd name="connsiteY249" fmla="*/ 287065 h 1499103"/>
                <a:gd name="connsiteX250" fmla="*/ 459007 w 1587719"/>
                <a:gd name="connsiteY250" fmla="*/ 268015 h 1499103"/>
                <a:gd name="connsiteX251" fmla="*/ 473294 w 1587719"/>
                <a:gd name="connsiteY251" fmla="*/ 263252 h 1499103"/>
                <a:gd name="connsiteX252" fmla="*/ 487582 w 1587719"/>
                <a:gd name="connsiteY252" fmla="*/ 234677 h 1499103"/>
                <a:gd name="connsiteX253" fmla="*/ 501869 w 1587719"/>
                <a:gd name="connsiteY253" fmla="*/ 220390 h 1499103"/>
                <a:gd name="connsiteX254" fmla="*/ 530444 w 1587719"/>
                <a:gd name="connsiteY254" fmla="*/ 210865 h 1499103"/>
                <a:gd name="connsiteX255" fmla="*/ 544732 w 1587719"/>
                <a:gd name="connsiteY255" fmla="*/ 201340 h 1499103"/>
                <a:gd name="connsiteX256" fmla="*/ 563782 w 1587719"/>
                <a:gd name="connsiteY256" fmla="*/ 177527 h 1499103"/>
                <a:gd name="connsiteX257" fmla="*/ 563782 w 1587719"/>
                <a:gd name="connsiteY257" fmla="*/ 177527 h 149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587719" h="1499103">
                  <a:moveTo>
                    <a:pt x="563782" y="177527"/>
                  </a:moveTo>
                  <a:cubicBezTo>
                    <a:pt x="582038" y="175146"/>
                    <a:pt x="595265" y="169244"/>
                    <a:pt x="673319" y="163240"/>
                  </a:cubicBezTo>
                  <a:cubicBezTo>
                    <a:pt x="682009" y="150205"/>
                    <a:pt x="682091" y="146112"/>
                    <a:pt x="697132" y="139427"/>
                  </a:cubicBezTo>
                  <a:cubicBezTo>
                    <a:pt x="706307" y="135349"/>
                    <a:pt x="717353" y="135471"/>
                    <a:pt x="725707" y="129902"/>
                  </a:cubicBezTo>
                  <a:cubicBezTo>
                    <a:pt x="730469" y="126727"/>
                    <a:pt x="734764" y="122702"/>
                    <a:pt x="739994" y="120377"/>
                  </a:cubicBezTo>
                  <a:cubicBezTo>
                    <a:pt x="749169" y="116299"/>
                    <a:pt x="759044" y="114027"/>
                    <a:pt x="768569" y="110852"/>
                  </a:cubicBezTo>
                  <a:lnTo>
                    <a:pt x="782857" y="106090"/>
                  </a:lnTo>
                  <a:cubicBezTo>
                    <a:pt x="784444" y="101327"/>
                    <a:pt x="785181" y="96190"/>
                    <a:pt x="787619" y="91802"/>
                  </a:cubicBezTo>
                  <a:cubicBezTo>
                    <a:pt x="793178" y="81795"/>
                    <a:pt x="806669" y="63227"/>
                    <a:pt x="806669" y="63227"/>
                  </a:cubicBezTo>
                  <a:cubicBezTo>
                    <a:pt x="801852" y="56001"/>
                    <a:pt x="792382" y="44513"/>
                    <a:pt x="792382" y="34652"/>
                  </a:cubicBezTo>
                  <a:cubicBezTo>
                    <a:pt x="792382" y="29632"/>
                    <a:pt x="795557" y="25127"/>
                    <a:pt x="797144" y="20365"/>
                  </a:cubicBezTo>
                  <a:cubicBezTo>
                    <a:pt x="806669" y="21952"/>
                    <a:pt x="817808" y="19589"/>
                    <a:pt x="825719" y="25127"/>
                  </a:cubicBezTo>
                  <a:cubicBezTo>
                    <a:pt x="835097" y="31692"/>
                    <a:pt x="838419" y="44177"/>
                    <a:pt x="844769" y="53702"/>
                  </a:cubicBezTo>
                  <a:lnTo>
                    <a:pt x="863819" y="82277"/>
                  </a:lnTo>
                  <a:cubicBezTo>
                    <a:pt x="867555" y="87881"/>
                    <a:pt x="871599" y="94830"/>
                    <a:pt x="878107" y="96565"/>
                  </a:cubicBezTo>
                  <a:cubicBezTo>
                    <a:pt x="896578" y="101490"/>
                    <a:pt x="916207" y="99740"/>
                    <a:pt x="935257" y="101327"/>
                  </a:cubicBezTo>
                  <a:cubicBezTo>
                    <a:pt x="940019" y="102915"/>
                    <a:pt x="946626" y="102005"/>
                    <a:pt x="949544" y="106090"/>
                  </a:cubicBezTo>
                  <a:cubicBezTo>
                    <a:pt x="955380" y="114260"/>
                    <a:pt x="959069" y="134665"/>
                    <a:pt x="959069" y="134665"/>
                  </a:cubicBezTo>
                  <a:cubicBezTo>
                    <a:pt x="954252" y="141891"/>
                    <a:pt x="944782" y="153379"/>
                    <a:pt x="944782" y="163240"/>
                  </a:cubicBezTo>
                  <a:cubicBezTo>
                    <a:pt x="944782" y="168260"/>
                    <a:pt x="947957" y="172765"/>
                    <a:pt x="949544" y="177527"/>
                  </a:cubicBezTo>
                  <a:cubicBezTo>
                    <a:pt x="947957" y="183877"/>
                    <a:pt x="946580" y="190283"/>
                    <a:pt x="944782" y="196577"/>
                  </a:cubicBezTo>
                  <a:cubicBezTo>
                    <a:pt x="940687" y="210911"/>
                    <a:pt x="933830" y="218250"/>
                    <a:pt x="944782" y="234677"/>
                  </a:cubicBezTo>
                  <a:cubicBezTo>
                    <a:pt x="947567" y="238854"/>
                    <a:pt x="954307" y="237852"/>
                    <a:pt x="959069" y="239440"/>
                  </a:cubicBezTo>
                  <a:cubicBezTo>
                    <a:pt x="962244" y="244202"/>
                    <a:pt x="967653" y="248081"/>
                    <a:pt x="968594" y="253727"/>
                  </a:cubicBezTo>
                  <a:cubicBezTo>
                    <a:pt x="969609" y="259818"/>
                    <a:pt x="957967" y="279374"/>
                    <a:pt x="954307" y="282302"/>
                  </a:cubicBezTo>
                  <a:cubicBezTo>
                    <a:pt x="950387" y="285438"/>
                    <a:pt x="944782" y="285477"/>
                    <a:pt x="940019" y="287065"/>
                  </a:cubicBezTo>
                  <a:cubicBezTo>
                    <a:pt x="929879" y="297205"/>
                    <a:pt x="915570" y="303346"/>
                    <a:pt x="930494" y="320402"/>
                  </a:cubicBezTo>
                  <a:cubicBezTo>
                    <a:pt x="938032" y="329017"/>
                    <a:pt x="959069" y="339452"/>
                    <a:pt x="959069" y="339452"/>
                  </a:cubicBezTo>
                  <a:cubicBezTo>
                    <a:pt x="964265" y="331658"/>
                    <a:pt x="971336" y="317083"/>
                    <a:pt x="982882" y="315640"/>
                  </a:cubicBezTo>
                  <a:cubicBezTo>
                    <a:pt x="990914" y="314636"/>
                    <a:pt x="998757" y="318815"/>
                    <a:pt x="1006694" y="320402"/>
                  </a:cubicBezTo>
                  <a:cubicBezTo>
                    <a:pt x="1043716" y="312999"/>
                    <a:pt x="1024783" y="321364"/>
                    <a:pt x="1059082" y="287065"/>
                  </a:cubicBezTo>
                  <a:lnTo>
                    <a:pt x="1059082" y="287065"/>
                  </a:lnTo>
                  <a:lnTo>
                    <a:pt x="1087657" y="277540"/>
                  </a:lnTo>
                  <a:lnTo>
                    <a:pt x="1101944" y="272777"/>
                  </a:lnTo>
                  <a:cubicBezTo>
                    <a:pt x="1108294" y="274365"/>
                    <a:pt x="1114978" y="274962"/>
                    <a:pt x="1120994" y="277540"/>
                  </a:cubicBezTo>
                  <a:cubicBezTo>
                    <a:pt x="1126255" y="279795"/>
                    <a:pt x="1130162" y="284505"/>
                    <a:pt x="1135282" y="287065"/>
                  </a:cubicBezTo>
                  <a:cubicBezTo>
                    <a:pt x="1139772" y="289310"/>
                    <a:pt x="1144807" y="290240"/>
                    <a:pt x="1149569" y="291827"/>
                  </a:cubicBezTo>
                  <a:cubicBezTo>
                    <a:pt x="1151157" y="285477"/>
                    <a:pt x="1149704" y="277405"/>
                    <a:pt x="1154332" y="272777"/>
                  </a:cubicBezTo>
                  <a:cubicBezTo>
                    <a:pt x="1187220" y="239890"/>
                    <a:pt x="1164434" y="294862"/>
                    <a:pt x="1178144" y="253727"/>
                  </a:cubicBezTo>
                  <a:cubicBezTo>
                    <a:pt x="1166809" y="219722"/>
                    <a:pt x="1174188" y="233506"/>
                    <a:pt x="1159094" y="210865"/>
                  </a:cubicBezTo>
                  <a:cubicBezTo>
                    <a:pt x="1160682" y="206102"/>
                    <a:pt x="1161612" y="201067"/>
                    <a:pt x="1163857" y="196577"/>
                  </a:cubicBezTo>
                  <a:cubicBezTo>
                    <a:pt x="1166417" y="191458"/>
                    <a:pt x="1171057" y="187520"/>
                    <a:pt x="1173382" y="182290"/>
                  </a:cubicBezTo>
                  <a:cubicBezTo>
                    <a:pt x="1177460" y="173115"/>
                    <a:pt x="1182907" y="153715"/>
                    <a:pt x="1182907" y="153715"/>
                  </a:cubicBezTo>
                  <a:cubicBezTo>
                    <a:pt x="1179732" y="148952"/>
                    <a:pt x="1175707" y="144658"/>
                    <a:pt x="1173382" y="139427"/>
                  </a:cubicBezTo>
                  <a:cubicBezTo>
                    <a:pt x="1168966" y="129491"/>
                    <a:pt x="1165482" y="105485"/>
                    <a:pt x="1154332" y="96565"/>
                  </a:cubicBezTo>
                  <a:cubicBezTo>
                    <a:pt x="1150412" y="93429"/>
                    <a:pt x="1144807" y="93390"/>
                    <a:pt x="1140044" y="91802"/>
                  </a:cubicBezTo>
                  <a:cubicBezTo>
                    <a:pt x="1135282" y="87040"/>
                    <a:pt x="1130931" y="81827"/>
                    <a:pt x="1125757" y="77515"/>
                  </a:cubicBezTo>
                  <a:cubicBezTo>
                    <a:pt x="1121360" y="73851"/>
                    <a:pt x="1115516" y="72037"/>
                    <a:pt x="1111469" y="67990"/>
                  </a:cubicBezTo>
                  <a:cubicBezTo>
                    <a:pt x="1107422" y="63943"/>
                    <a:pt x="1105119" y="58465"/>
                    <a:pt x="1101944" y="53702"/>
                  </a:cubicBezTo>
                  <a:cubicBezTo>
                    <a:pt x="1106707" y="52115"/>
                    <a:pt x="1111242" y="48386"/>
                    <a:pt x="1116232" y="48940"/>
                  </a:cubicBezTo>
                  <a:cubicBezTo>
                    <a:pt x="1126211" y="50049"/>
                    <a:pt x="1144807" y="58465"/>
                    <a:pt x="1144807" y="58465"/>
                  </a:cubicBezTo>
                  <a:cubicBezTo>
                    <a:pt x="1151157" y="56877"/>
                    <a:pt x="1159597" y="58672"/>
                    <a:pt x="1163857" y="53702"/>
                  </a:cubicBezTo>
                  <a:cubicBezTo>
                    <a:pt x="1181322" y="33325"/>
                    <a:pt x="1164318" y="25712"/>
                    <a:pt x="1182907" y="10840"/>
                  </a:cubicBezTo>
                  <a:cubicBezTo>
                    <a:pt x="1186827" y="7704"/>
                    <a:pt x="1192432" y="7665"/>
                    <a:pt x="1197194" y="6077"/>
                  </a:cubicBezTo>
                  <a:cubicBezTo>
                    <a:pt x="1231979" y="17672"/>
                    <a:pt x="1216028" y="18037"/>
                    <a:pt x="1244819" y="10840"/>
                  </a:cubicBezTo>
                  <a:cubicBezTo>
                    <a:pt x="1249582" y="7665"/>
                    <a:pt x="1253461" y="2256"/>
                    <a:pt x="1259107" y="1315"/>
                  </a:cubicBezTo>
                  <a:cubicBezTo>
                    <a:pt x="1266994" y="0"/>
                    <a:pt x="1282707" y="12285"/>
                    <a:pt x="1287682" y="15602"/>
                  </a:cubicBezTo>
                  <a:cubicBezTo>
                    <a:pt x="1289269" y="39415"/>
                    <a:pt x="1289808" y="63320"/>
                    <a:pt x="1292444" y="87040"/>
                  </a:cubicBezTo>
                  <a:cubicBezTo>
                    <a:pt x="1292998" y="92029"/>
                    <a:pt x="1292337" y="100109"/>
                    <a:pt x="1297207" y="101327"/>
                  </a:cubicBezTo>
                  <a:cubicBezTo>
                    <a:pt x="1308097" y="104049"/>
                    <a:pt x="1319500" y="98573"/>
                    <a:pt x="1330544" y="96565"/>
                  </a:cubicBezTo>
                  <a:cubicBezTo>
                    <a:pt x="1350999" y="92846"/>
                    <a:pt x="1346042" y="92137"/>
                    <a:pt x="1363882" y="87040"/>
                  </a:cubicBezTo>
                  <a:cubicBezTo>
                    <a:pt x="1370176" y="85242"/>
                    <a:pt x="1376582" y="83865"/>
                    <a:pt x="1382932" y="82277"/>
                  </a:cubicBezTo>
                  <a:cubicBezTo>
                    <a:pt x="1395944" y="43238"/>
                    <a:pt x="1373436" y="103666"/>
                    <a:pt x="1416269" y="39415"/>
                  </a:cubicBezTo>
                  <a:cubicBezTo>
                    <a:pt x="1419444" y="34652"/>
                    <a:pt x="1421324" y="28703"/>
                    <a:pt x="1425794" y="25127"/>
                  </a:cubicBezTo>
                  <a:cubicBezTo>
                    <a:pt x="1429714" y="21991"/>
                    <a:pt x="1435319" y="21952"/>
                    <a:pt x="1440082" y="20365"/>
                  </a:cubicBezTo>
                  <a:cubicBezTo>
                    <a:pt x="1446432" y="21952"/>
                    <a:pt x="1456205" y="19273"/>
                    <a:pt x="1459132" y="25127"/>
                  </a:cubicBezTo>
                  <a:cubicBezTo>
                    <a:pt x="1462752" y="32367"/>
                    <a:pt x="1455315" y="40901"/>
                    <a:pt x="1454369" y="48940"/>
                  </a:cubicBezTo>
                  <a:cubicBezTo>
                    <a:pt x="1452862" y="61754"/>
                    <a:pt x="1459094" y="105168"/>
                    <a:pt x="1440082" y="120377"/>
                  </a:cubicBezTo>
                  <a:cubicBezTo>
                    <a:pt x="1436162" y="123513"/>
                    <a:pt x="1430557" y="123552"/>
                    <a:pt x="1425794" y="125140"/>
                  </a:cubicBezTo>
                  <a:cubicBezTo>
                    <a:pt x="1421032" y="129902"/>
                    <a:pt x="1415243" y="133823"/>
                    <a:pt x="1411507" y="139427"/>
                  </a:cubicBezTo>
                  <a:cubicBezTo>
                    <a:pt x="1408722" y="143604"/>
                    <a:pt x="1408989" y="149225"/>
                    <a:pt x="1406744" y="153715"/>
                  </a:cubicBezTo>
                  <a:cubicBezTo>
                    <a:pt x="1404184" y="158834"/>
                    <a:pt x="1400394" y="163240"/>
                    <a:pt x="1397219" y="168002"/>
                  </a:cubicBezTo>
                  <a:cubicBezTo>
                    <a:pt x="1398807" y="172765"/>
                    <a:pt x="1398432" y="178740"/>
                    <a:pt x="1401982" y="182290"/>
                  </a:cubicBezTo>
                  <a:cubicBezTo>
                    <a:pt x="1405532" y="185840"/>
                    <a:pt x="1412092" y="184267"/>
                    <a:pt x="1416269" y="187052"/>
                  </a:cubicBezTo>
                  <a:cubicBezTo>
                    <a:pt x="1421873" y="190788"/>
                    <a:pt x="1425794" y="196577"/>
                    <a:pt x="1430557" y="201340"/>
                  </a:cubicBezTo>
                  <a:cubicBezTo>
                    <a:pt x="1427975" y="214247"/>
                    <a:pt x="1427948" y="230097"/>
                    <a:pt x="1416269" y="239440"/>
                  </a:cubicBezTo>
                  <a:cubicBezTo>
                    <a:pt x="1412349" y="242576"/>
                    <a:pt x="1406744" y="242615"/>
                    <a:pt x="1401982" y="244202"/>
                  </a:cubicBezTo>
                  <a:cubicBezTo>
                    <a:pt x="1403569" y="248965"/>
                    <a:pt x="1404499" y="254000"/>
                    <a:pt x="1406744" y="258490"/>
                  </a:cubicBezTo>
                  <a:cubicBezTo>
                    <a:pt x="1409304" y="263609"/>
                    <a:pt x="1411800" y="269201"/>
                    <a:pt x="1416269" y="272777"/>
                  </a:cubicBezTo>
                  <a:cubicBezTo>
                    <a:pt x="1420189" y="275913"/>
                    <a:pt x="1425634" y="276555"/>
                    <a:pt x="1430557" y="277540"/>
                  </a:cubicBezTo>
                  <a:cubicBezTo>
                    <a:pt x="1441564" y="279741"/>
                    <a:pt x="1452782" y="280715"/>
                    <a:pt x="1463894" y="282302"/>
                  </a:cubicBezTo>
                  <a:cubicBezTo>
                    <a:pt x="1468657" y="285477"/>
                    <a:pt x="1475007" y="287064"/>
                    <a:pt x="1478182" y="291827"/>
                  </a:cubicBezTo>
                  <a:cubicBezTo>
                    <a:pt x="1487071" y="305161"/>
                    <a:pt x="1481992" y="316593"/>
                    <a:pt x="1478182" y="329927"/>
                  </a:cubicBezTo>
                  <a:cubicBezTo>
                    <a:pt x="1476803" y="334754"/>
                    <a:pt x="1475007" y="339452"/>
                    <a:pt x="1473419" y="344215"/>
                  </a:cubicBezTo>
                  <a:cubicBezTo>
                    <a:pt x="1474216" y="349792"/>
                    <a:pt x="1479450" y="400622"/>
                    <a:pt x="1487707" y="406127"/>
                  </a:cubicBezTo>
                  <a:lnTo>
                    <a:pt x="1516282" y="425177"/>
                  </a:lnTo>
                  <a:cubicBezTo>
                    <a:pt x="1524317" y="430533"/>
                    <a:pt x="1535332" y="428352"/>
                    <a:pt x="1544857" y="429940"/>
                  </a:cubicBezTo>
                  <a:cubicBezTo>
                    <a:pt x="1548032" y="434702"/>
                    <a:pt x="1553441" y="438581"/>
                    <a:pt x="1554382" y="444227"/>
                  </a:cubicBezTo>
                  <a:cubicBezTo>
                    <a:pt x="1557724" y="464281"/>
                    <a:pt x="1538339" y="452749"/>
                    <a:pt x="1554382" y="472802"/>
                  </a:cubicBezTo>
                  <a:cubicBezTo>
                    <a:pt x="1558870" y="478412"/>
                    <a:pt x="1583031" y="489508"/>
                    <a:pt x="1587719" y="491852"/>
                  </a:cubicBezTo>
                  <a:cubicBezTo>
                    <a:pt x="1586132" y="498202"/>
                    <a:pt x="1584838" y="504633"/>
                    <a:pt x="1582957" y="510902"/>
                  </a:cubicBezTo>
                  <a:cubicBezTo>
                    <a:pt x="1580072" y="520519"/>
                    <a:pt x="1575867" y="529737"/>
                    <a:pt x="1573432" y="539477"/>
                  </a:cubicBezTo>
                  <a:cubicBezTo>
                    <a:pt x="1566706" y="566380"/>
                    <a:pt x="1569953" y="552109"/>
                    <a:pt x="1563907" y="582340"/>
                  </a:cubicBezTo>
                  <a:cubicBezTo>
                    <a:pt x="1565494" y="596627"/>
                    <a:pt x="1569863" y="610876"/>
                    <a:pt x="1568669" y="625202"/>
                  </a:cubicBezTo>
                  <a:cubicBezTo>
                    <a:pt x="1564976" y="669513"/>
                    <a:pt x="1549777" y="611392"/>
                    <a:pt x="1563907" y="653777"/>
                  </a:cubicBezTo>
                  <a:cubicBezTo>
                    <a:pt x="1562319" y="661715"/>
                    <a:pt x="1561986" y="670011"/>
                    <a:pt x="1559144" y="677590"/>
                  </a:cubicBezTo>
                  <a:cubicBezTo>
                    <a:pt x="1552794" y="694522"/>
                    <a:pt x="1548031" y="690819"/>
                    <a:pt x="1535332" y="701402"/>
                  </a:cubicBezTo>
                  <a:cubicBezTo>
                    <a:pt x="1530158" y="705714"/>
                    <a:pt x="1526218" y="711378"/>
                    <a:pt x="1521044" y="715690"/>
                  </a:cubicBezTo>
                  <a:cubicBezTo>
                    <a:pt x="1516647" y="719354"/>
                    <a:pt x="1511035" y="721412"/>
                    <a:pt x="1506757" y="725215"/>
                  </a:cubicBezTo>
                  <a:cubicBezTo>
                    <a:pt x="1490527" y="739641"/>
                    <a:pt x="1482424" y="754050"/>
                    <a:pt x="1463894" y="763315"/>
                  </a:cubicBezTo>
                  <a:cubicBezTo>
                    <a:pt x="1459404" y="765560"/>
                    <a:pt x="1454369" y="766490"/>
                    <a:pt x="1449607" y="768077"/>
                  </a:cubicBezTo>
                  <a:lnTo>
                    <a:pt x="1421032" y="749027"/>
                  </a:lnTo>
                  <a:cubicBezTo>
                    <a:pt x="1407240" y="739832"/>
                    <a:pt x="1423818" y="720776"/>
                    <a:pt x="1411507" y="710927"/>
                  </a:cubicBezTo>
                  <a:cubicBezTo>
                    <a:pt x="1406396" y="706838"/>
                    <a:pt x="1398807" y="707752"/>
                    <a:pt x="1392457" y="706165"/>
                  </a:cubicBezTo>
                  <a:cubicBezTo>
                    <a:pt x="1359120" y="728390"/>
                    <a:pt x="1370232" y="715690"/>
                    <a:pt x="1354357" y="739502"/>
                  </a:cubicBezTo>
                  <a:cubicBezTo>
                    <a:pt x="1355944" y="744265"/>
                    <a:pt x="1356681" y="749402"/>
                    <a:pt x="1359119" y="753790"/>
                  </a:cubicBezTo>
                  <a:cubicBezTo>
                    <a:pt x="1364678" y="763797"/>
                    <a:pt x="1378169" y="782365"/>
                    <a:pt x="1378169" y="782365"/>
                  </a:cubicBezTo>
                  <a:cubicBezTo>
                    <a:pt x="1376582" y="787127"/>
                    <a:pt x="1376543" y="792732"/>
                    <a:pt x="1373407" y="796652"/>
                  </a:cubicBezTo>
                  <a:cubicBezTo>
                    <a:pt x="1366693" y="805044"/>
                    <a:pt x="1354243" y="807803"/>
                    <a:pt x="1344832" y="810940"/>
                  </a:cubicBezTo>
                  <a:cubicBezTo>
                    <a:pt x="1310839" y="806083"/>
                    <a:pt x="1312149" y="803095"/>
                    <a:pt x="1278157" y="810940"/>
                  </a:cubicBezTo>
                  <a:cubicBezTo>
                    <a:pt x="1268374" y="813198"/>
                    <a:pt x="1259107" y="817290"/>
                    <a:pt x="1249582" y="820465"/>
                  </a:cubicBezTo>
                  <a:lnTo>
                    <a:pt x="1235294" y="825227"/>
                  </a:lnTo>
                  <a:cubicBezTo>
                    <a:pt x="1230532" y="828402"/>
                    <a:pt x="1224583" y="830283"/>
                    <a:pt x="1221007" y="834752"/>
                  </a:cubicBezTo>
                  <a:cubicBezTo>
                    <a:pt x="1217871" y="838672"/>
                    <a:pt x="1219029" y="844863"/>
                    <a:pt x="1216244" y="849040"/>
                  </a:cubicBezTo>
                  <a:cubicBezTo>
                    <a:pt x="1212508" y="854644"/>
                    <a:pt x="1206719" y="858565"/>
                    <a:pt x="1201957" y="863327"/>
                  </a:cubicBezTo>
                  <a:cubicBezTo>
                    <a:pt x="1203544" y="871265"/>
                    <a:pt x="1204756" y="879287"/>
                    <a:pt x="1206719" y="887140"/>
                  </a:cubicBezTo>
                  <a:cubicBezTo>
                    <a:pt x="1207937" y="892010"/>
                    <a:pt x="1206512" y="900717"/>
                    <a:pt x="1211482" y="901427"/>
                  </a:cubicBezTo>
                  <a:cubicBezTo>
                    <a:pt x="1221421" y="902847"/>
                    <a:pt x="1230532" y="895077"/>
                    <a:pt x="1240057" y="891902"/>
                  </a:cubicBezTo>
                  <a:lnTo>
                    <a:pt x="1254344" y="887140"/>
                  </a:lnTo>
                  <a:lnTo>
                    <a:pt x="1268632" y="882377"/>
                  </a:lnTo>
                  <a:cubicBezTo>
                    <a:pt x="1277794" y="888485"/>
                    <a:pt x="1289268" y="891912"/>
                    <a:pt x="1287682" y="906190"/>
                  </a:cubicBezTo>
                  <a:cubicBezTo>
                    <a:pt x="1286573" y="916169"/>
                    <a:pt x="1281332" y="925240"/>
                    <a:pt x="1278157" y="934765"/>
                  </a:cubicBezTo>
                  <a:lnTo>
                    <a:pt x="1273394" y="949052"/>
                  </a:lnTo>
                  <a:cubicBezTo>
                    <a:pt x="1271807" y="958577"/>
                    <a:pt x="1270727" y="968201"/>
                    <a:pt x="1268632" y="977627"/>
                  </a:cubicBezTo>
                  <a:cubicBezTo>
                    <a:pt x="1267543" y="982528"/>
                    <a:pt x="1267419" y="988365"/>
                    <a:pt x="1263869" y="991915"/>
                  </a:cubicBezTo>
                  <a:cubicBezTo>
                    <a:pt x="1255774" y="1000010"/>
                    <a:pt x="1235294" y="1010965"/>
                    <a:pt x="1235294" y="1010965"/>
                  </a:cubicBezTo>
                  <a:cubicBezTo>
                    <a:pt x="1228944" y="1009377"/>
                    <a:pt x="1222513" y="1008083"/>
                    <a:pt x="1216244" y="1006202"/>
                  </a:cubicBezTo>
                  <a:cubicBezTo>
                    <a:pt x="1206627" y="1003317"/>
                    <a:pt x="1187669" y="996677"/>
                    <a:pt x="1187669" y="996677"/>
                  </a:cubicBezTo>
                  <a:cubicBezTo>
                    <a:pt x="1184494" y="1001440"/>
                    <a:pt x="1178662" y="1005265"/>
                    <a:pt x="1178144" y="1010965"/>
                  </a:cubicBezTo>
                  <a:cubicBezTo>
                    <a:pt x="1176221" y="1032119"/>
                    <a:pt x="1181726" y="1045523"/>
                    <a:pt x="1187669" y="1063352"/>
                  </a:cubicBezTo>
                  <a:cubicBezTo>
                    <a:pt x="1182907" y="1068115"/>
                    <a:pt x="1178986" y="1073904"/>
                    <a:pt x="1173382" y="1077640"/>
                  </a:cubicBezTo>
                  <a:cubicBezTo>
                    <a:pt x="1169205" y="1080425"/>
                    <a:pt x="1162644" y="1078852"/>
                    <a:pt x="1159094" y="1082402"/>
                  </a:cubicBezTo>
                  <a:cubicBezTo>
                    <a:pt x="1155544" y="1085952"/>
                    <a:pt x="1157117" y="1092513"/>
                    <a:pt x="1154332" y="1096690"/>
                  </a:cubicBezTo>
                  <a:cubicBezTo>
                    <a:pt x="1150596" y="1102294"/>
                    <a:pt x="1144179" y="1105661"/>
                    <a:pt x="1140044" y="1110977"/>
                  </a:cubicBezTo>
                  <a:cubicBezTo>
                    <a:pt x="1133016" y="1120013"/>
                    <a:pt x="1120994" y="1139552"/>
                    <a:pt x="1120994" y="1139552"/>
                  </a:cubicBezTo>
                  <a:cubicBezTo>
                    <a:pt x="1119407" y="1149077"/>
                    <a:pt x="1121023" y="1159743"/>
                    <a:pt x="1116232" y="1168127"/>
                  </a:cubicBezTo>
                  <a:cubicBezTo>
                    <a:pt x="1105718" y="1186527"/>
                    <a:pt x="1091858" y="1161003"/>
                    <a:pt x="1087657" y="1158602"/>
                  </a:cubicBezTo>
                  <a:cubicBezTo>
                    <a:pt x="1081974" y="1155355"/>
                    <a:pt x="1074957" y="1155427"/>
                    <a:pt x="1068607" y="1153840"/>
                  </a:cubicBezTo>
                  <a:cubicBezTo>
                    <a:pt x="1056986" y="1157713"/>
                    <a:pt x="1049265" y="1158894"/>
                    <a:pt x="1040032" y="1168127"/>
                  </a:cubicBezTo>
                  <a:cubicBezTo>
                    <a:pt x="1035985" y="1172175"/>
                    <a:pt x="1034171" y="1178018"/>
                    <a:pt x="1030507" y="1182415"/>
                  </a:cubicBezTo>
                  <a:cubicBezTo>
                    <a:pt x="1026195" y="1187589"/>
                    <a:pt x="1020982" y="1191940"/>
                    <a:pt x="1016219" y="1196702"/>
                  </a:cubicBezTo>
                  <a:cubicBezTo>
                    <a:pt x="1014632" y="1201465"/>
                    <a:pt x="1014242" y="1206813"/>
                    <a:pt x="1011457" y="1210990"/>
                  </a:cubicBezTo>
                  <a:cubicBezTo>
                    <a:pt x="1007721" y="1216594"/>
                    <a:pt x="997913" y="1218583"/>
                    <a:pt x="997169" y="1225277"/>
                  </a:cubicBezTo>
                  <a:cubicBezTo>
                    <a:pt x="996060" y="1235256"/>
                    <a:pt x="1006694" y="1253852"/>
                    <a:pt x="1006694" y="1253852"/>
                  </a:cubicBezTo>
                  <a:cubicBezTo>
                    <a:pt x="1005107" y="1258615"/>
                    <a:pt x="1006017" y="1265222"/>
                    <a:pt x="1001932" y="1268140"/>
                  </a:cubicBezTo>
                  <a:cubicBezTo>
                    <a:pt x="993762" y="1273976"/>
                    <a:pt x="973357" y="1277665"/>
                    <a:pt x="973357" y="1277665"/>
                  </a:cubicBezTo>
                  <a:cubicBezTo>
                    <a:pt x="941401" y="1256362"/>
                    <a:pt x="972711" y="1281458"/>
                    <a:pt x="954307" y="1253852"/>
                  </a:cubicBezTo>
                  <a:cubicBezTo>
                    <a:pt x="950571" y="1248248"/>
                    <a:pt x="944331" y="1244739"/>
                    <a:pt x="940019" y="1239565"/>
                  </a:cubicBezTo>
                  <a:cubicBezTo>
                    <a:pt x="936355" y="1235168"/>
                    <a:pt x="933669" y="1230040"/>
                    <a:pt x="930494" y="1225277"/>
                  </a:cubicBezTo>
                  <a:cubicBezTo>
                    <a:pt x="928907" y="1220515"/>
                    <a:pt x="925732" y="1216010"/>
                    <a:pt x="925732" y="1210990"/>
                  </a:cubicBezTo>
                  <a:cubicBezTo>
                    <a:pt x="925732" y="1191942"/>
                    <a:pt x="938430" y="1201462"/>
                    <a:pt x="925732" y="1182415"/>
                  </a:cubicBezTo>
                  <a:cubicBezTo>
                    <a:pt x="921996" y="1176811"/>
                    <a:pt x="916761" y="1172262"/>
                    <a:pt x="911444" y="1168127"/>
                  </a:cubicBezTo>
                  <a:cubicBezTo>
                    <a:pt x="902408" y="1161099"/>
                    <a:pt x="882869" y="1149077"/>
                    <a:pt x="882869" y="1149077"/>
                  </a:cubicBezTo>
                  <a:cubicBezTo>
                    <a:pt x="879694" y="1144315"/>
                    <a:pt x="874989" y="1140272"/>
                    <a:pt x="873344" y="1134790"/>
                  </a:cubicBezTo>
                  <a:cubicBezTo>
                    <a:pt x="870118" y="1124038"/>
                    <a:pt x="875768" y="1110076"/>
                    <a:pt x="868582" y="1101452"/>
                  </a:cubicBezTo>
                  <a:cubicBezTo>
                    <a:pt x="864392" y="1096424"/>
                    <a:pt x="855882" y="1104627"/>
                    <a:pt x="849532" y="1106215"/>
                  </a:cubicBezTo>
                  <a:cubicBezTo>
                    <a:pt x="827331" y="1139515"/>
                    <a:pt x="851240" y="1098812"/>
                    <a:pt x="835244" y="1168127"/>
                  </a:cubicBezTo>
                  <a:cubicBezTo>
                    <a:pt x="833957" y="1173704"/>
                    <a:pt x="831034" y="1180289"/>
                    <a:pt x="825719" y="1182415"/>
                  </a:cubicBezTo>
                  <a:cubicBezTo>
                    <a:pt x="813836" y="1187168"/>
                    <a:pt x="800319" y="1185590"/>
                    <a:pt x="787619" y="1187177"/>
                  </a:cubicBezTo>
                  <a:cubicBezTo>
                    <a:pt x="790794" y="1196702"/>
                    <a:pt x="802713" y="1207398"/>
                    <a:pt x="797144" y="1215752"/>
                  </a:cubicBezTo>
                  <a:cubicBezTo>
                    <a:pt x="793969" y="1220515"/>
                    <a:pt x="792382" y="1226865"/>
                    <a:pt x="787619" y="1230040"/>
                  </a:cubicBezTo>
                  <a:cubicBezTo>
                    <a:pt x="782173" y="1233671"/>
                    <a:pt x="774838" y="1232921"/>
                    <a:pt x="768569" y="1234802"/>
                  </a:cubicBezTo>
                  <a:cubicBezTo>
                    <a:pt x="758952" y="1237687"/>
                    <a:pt x="749519" y="1241152"/>
                    <a:pt x="739994" y="1244327"/>
                  </a:cubicBezTo>
                  <a:cubicBezTo>
                    <a:pt x="687891" y="1261696"/>
                    <a:pt x="766811" y="1233996"/>
                    <a:pt x="711419" y="1258615"/>
                  </a:cubicBezTo>
                  <a:cubicBezTo>
                    <a:pt x="691642" y="1267404"/>
                    <a:pt x="679405" y="1268828"/>
                    <a:pt x="659032" y="1272902"/>
                  </a:cubicBezTo>
                  <a:cubicBezTo>
                    <a:pt x="657444" y="1277665"/>
                    <a:pt x="655648" y="1282363"/>
                    <a:pt x="654269" y="1287190"/>
                  </a:cubicBezTo>
                  <a:cubicBezTo>
                    <a:pt x="652471" y="1293484"/>
                    <a:pt x="654477" y="1301980"/>
                    <a:pt x="649507" y="1306240"/>
                  </a:cubicBezTo>
                  <a:cubicBezTo>
                    <a:pt x="637921" y="1316171"/>
                    <a:pt x="593760" y="1319161"/>
                    <a:pt x="582832" y="1320527"/>
                  </a:cubicBezTo>
                  <a:cubicBezTo>
                    <a:pt x="578069" y="1322115"/>
                    <a:pt x="573034" y="1323045"/>
                    <a:pt x="568544" y="1325290"/>
                  </a:cubicBezTo>
                  <a:cubicBezTo>
                    <a:pt x="552085" y="1333520"/>
                    <a:pt x="557929" y="1336584"/>
                    <a:pt x="539969" y="1339577"/>
                  </a:cubicBezTo>
                  <a:cubicBezTo>
                    <a:pt x="525789" y="1341940"/>
                    <a:pt x="511394" y="1342752"/>
                    <a:pt x="497107" y="1344340"/>
                  </a:cubicBezTo>
                  <a:cubicBezTo>
                    <a:pt x="489321" y="1346935"/>
                    <a:pt x="473392" y="1350851"/>
                    <a:pt x="468532" y="1358627"/>
                  </a:cubicBezTo>
                  <a:cubicBezTo>
                    <a:pt x="463211" y="1367141"/>
                    <a:pt x="462182" y="1377677"/>
                    <a:pt x="459007" y="1387202"/>
                  </a:cubicBezTo>
                  <a:cubicBezTo>
                    <a:pt x="455387" y="1398062"/>
                    <a:pt x="446307" y="1406252"/>
                    <a:pt x="439957" y="1415777"/>
                  </a:cubicBezTo>
                  <a:lnTo>
                    <a:pt x="430432" y="1430065"/>
                  </a:lnTo>
                  <a:cubicBezTo>
                    <a:pt x="424863" y="1438419"/>
                    <a:pt x="411382" y="1436415"/>
                    <a:pt x="401857" y="1439590"/>
                  </a:cubicBezTo>
                  <a:cubicBezTo>
                    <a:pt x="396427" y="1441400"/>
                    <a:pt x="392332" y="1445940"/>
                    <a:pt x="387569" y="1449115"/>
                  </a:cubicBezTo>
                  <a:cubicBezTo>
                    <a:pt x="386371" y="1457500"/>
                    <a:pt x="388034" y="1493487"/>
                    <a:pt x="368519" y="1496740"/>
                  </a:cubicBezTo>
                  <a:cubicBezTo>
                    <a:pt x="354339" y="1499103"/>
                    <a:pt x="339944" y="1493565"/>
                    <a:pt x="325657" y="1491977"/>
                  </a:cubicBezTo>
                  <a:cubicBezTo>
                    <a:pt x="320894" y="1487215"/>
                    <a:pt x="317944" y="1479151"/>
                    <a:pt x="311369" y="1477690"/>
                  </a:cubicBezTo>
                  <a:cubicBezTo>
                    <a:pt x="301943" y="1475595"/>
                    <a:pt x="292450" y="1482452"/>
                    <a:pt x="282794" y="1482452"/>
                  </a:cubicBezTo>
                  <a:cubicBezTo>
                    <a:pt x="266840" y="1482452"/>
                    <a:pt x="251044" y="1479277"/>
                    <a:pt x="235169" y="1477690"/>
                  </a:cubicBezTo>
                  <a:cubicBezTo>
                    <a:pt x="230407" y="1476102"/>
                    <a:pt x="225782" y="1474016"/>
                    <a:pt x="220882" y="1472927"/>
                  </a:cubicBezTo>
                  <a:cubicBezTo>
                    <a:pt x="211456" y="1470832"/>
                    <a:pt x="199847" y="1474197"/>
                    <a:pt x="192307" y="1468165"/>
                  </a:cubicBezTo>
                  <a:cubicBezTo>
                    <a:pt x="188387" y="1465029"/>
                    <a:pt x="194824" y="1458367"/>
                    <a:pt x="197069" y="1453877"/>
                  </a:cubicBezTo>
                  <a:cubicBezTo>
                    <a:pt x="199629" y="1448758"/>
                    <a:pt x="203419" y="1444352"/>
                    <a:pt x="206594" y="1439590"/>
                  </a:cubicBezTo>
                  <a:cubicBezTo>
                    <a:pt x="205007" y="1428477"/>
                    <a:pt x="206391" y="1416510"/>
                    <a:pt x="201832" y="1406252"/>
                  </a:cubicBezTo>
                  <a:cubicBezTo>
                    <a:pt x="199507" y="1401021"/>
                    <a:pt x="192664" y="1399287"/>
                    <a:pt x="187544" y="1396727"/>
                  </a:cubicBezTo>
                  <a:cubicBezTo>
                    <a:pt x="177783" y="1391847"/>
                    <a:pt x="158497" y="1389013"/>
                    <a:pt x="149444" y="1387202"/>
                  </a:cubicBezTo>
                  <a:cubicBezTo>
                    <a:pt x="144682" y="1384027"/>
                    <a:pt x="138733" y="1382146"/>
                    <a:pt x="135157" y="1377677"/>
                  </a:cubicBezTo>
                  <a:cubicBezTo>
                    <a:pt x="132021" y="1373757"/>
                    <a:pt x="130394" y="1368410"/>
                    <a:pt x="130394" y="1363390"/>
                  </a:cubicBezTo>
                  <a:cubicBezTo>
                    <a:pt x="130394" y="1322931"/>
                    <a:pt x="129331" y="1329266"/>
                    <a:pt x="144682" y="1306240"/>
                  </a:cubicBezTo>
                  <a:cubicBezTo>
                    <a:pt x="143094" y="1299890"/>
                    <a:pt x="143550" y="1292636"/>
                    <a:pt x="139919" y="1287190"/>
                  </a:cubicBezTo>
                  <a:cubicBezTo>
                    <a:pt x="134643" y="1279277"/>
                    <a:pt x="119494" y="1275619"/>
                    <a:pt x="111344" y="1272902"/>
                  </a:cubicBezTo>
                  <a:cubicBezTo>
                    <a:pt x="109757" y="1268140"/>
                    <a:pt x="107800" y="1263485"/>
                    <a:pt x="106582" y="1258615"/>
                  </a:cubicBezTo>
                  <a:cubicBezTo>
                    <a:pt x="103866" y="1247751"/>
                    <a:pt x="102499" y="1231399"/>
                    <a:pt x="97057" y="1220515"/>
                  </a:cubicBezTo>
                  <a:cubicBezTo>
                    <a:pt x="94497" y="1215395"/>
                    <a:pt x="92002" y="1209803"/>
                    <a:pt x="87532" y="1206227"/>
                  </a:cubicBezTo>
                  <a:cubicBezTo>
                    <a:pt x="83612" y="1203091"/>
                    <a:pt x="78007" y="1203052"/>
                    <a:pt x="73244" y="1201465"/>
                  </a:cubicBezTo>
                  <a:cubicBezTo>
                    <a:pt x="70069" y="1196702"/>
                    <a:pt x="66279" y="1192297"/>
                    <a:pt x="63719" y="1187177"/>
                  </a:cubicBezTo>
                  <a:cubicBezTo>
                    <a:pt x="57240" y="1174218"/>
                    <a:pt x="56614" y="1163287"/>
                    <a:pt x="63719" y="1149077"/>
                  </a:cubicBezTo>
                  <a:cubicBezTo>
                    <a:pt x="66731" y="1143053"/>
                    <a:pt x="73695" y="1139964"/>
                    <a:pt x="78007" y="1134790"/>
                  </a:cubicBezTo>
                  <a:cubicBezTo>
                    <a:pt x="81671" y="1130393"/>
                    <a:pt x="84357" y="1125265"/>
                    <a:pt x="87532" y="1120502"/>
                  </a:cubicBezTo>
                  <a:cubicBezTo>
                    <a:pt x="85944" y="1109390"/>
                    <a:pt x="86799" y="1097642"/>
                    <a:pt x="82769" y="1087165"/>
                  </a:cubicBezTo>
                  <a:cubicBezTo>
                    <a:pt x="78659" y="1076480"/>
                    <a:pt x="63719" y="1058590"/>
                    <a:pt x="63719" y="1058590"/>
                  </a:cubicBezTo>
                  <a:cubicBezTo>
                    <a:pt x="65307" y="1053827"/>
                    <a:pt x="70727" y="1048792"/>
                    <a:pt x="68482" y="1044302"/>
                  </a:cubicBezTo>
                  <a:cubicBezTo>
                    <a:pt x="66237" y="1039812"/>
                    <a:pt x="59117" y="1040525"/>
                    <a:pt x="54194" y="1039540"/>
                  </a:cubicBezTo>
                  <a:cubicBezTo>
                    <a:pt x="43187" y="1037339"/>
                    <a:pt x="31969" y="1036365"/>
                    <a:pt x="20857" y="1034777"/>
                  </a:cubicBezTo>
                  <a:cubicBezTo>
                    <a:pt x="16094" y="1031602"/>
                    <a:pt x="10145" y="1029722"/>
                    <a:pt x="6569" y="1025252"/>
                  </a:cubicBezTo>
                  <a:cubicBezTo>
                    <a:pt x="0" y="1017040"/>
                    <a:pt x="248" y="999817"/>
                    <a:pt x="6569" y="991915"/>
                  </a:cubicBezTo>
                  <a:cubicBezTo>
                    <a:pt x="9705" y="987995"/>
                    <a:pt x="16367" y="989397"/>
                    <a:pt x="20857" y="987152"/>
                  </a:cubicBezTo>
                  <a:cubicBezTo>
                    <a:pt x="62412" y="966374"/>
                    <a:pt x="4636" y="987732"/>
                    <a:pt x="54194" y="972865"/>
                  </a:cubicBezTo>
                  <a:cubicBezTo>
                    <a:pt x="63811" y="969980"/>
                    <a:pt x="82769" y="963340"/>
                    <a:pt x="82769" y="963340"/>
                  </a:cubicBezTo>
                  <a:lnTo>
                    <a:pt x="111344" y="944290"/>
                  </a:lnTo>
                  <a:lnTo>
                    <a:pt x="125632" y="934765"/>
                  </a:lnTo>
                  <a:cubicBezTo>
                    <a:pt x="141978" y="910246"/>
                    <a:pt x="157147" y="908131"/>
                    <a:pt x="130394" y="896665"/>
                  </a:cubicBezTo>
                  <a:cubicBezTo>
                    <a:pt x="124378" y="894087"/>
                    <a:pt x="117694" y="893490"/>
                    <a:pt x="111344" y="891902"/>
                  </a:cubicBezTo>
                  <a:cubicBezTo>
                    <a:pt x="109757" y="887140"/>
                    <a:pt x="106582" y="882635"/>
                    <a:pt x="106582" y="877615"/>
                  </a:cubicBezTo>
                  <a:cubicBezTo>
                    <a:pt x="106582" y="861998"/>
                    <a:pt x="117040" y="860087"/>
                    <a:pt x="125632" y="849040"/>
                  </a:cubicBezTo>
                  <a:cubicBezTo>
                    <a:pt x="132660" y="840004"/>
                    <a:pt x="138332" y="829990"/>
                    <a:pt x="144682" y="820465"/>
                  </a:cubicBezTo>
                  <a:lnTo>
                    <a:pt x="154207" y="806177"/>
                  </a:lnTo>
                  <a:cubicBezTo>
                    <a:pt x="166786" y="768441"/>
                    <a:pt x="162082" y="787506"/>
                    <a:pt x="168494" y="749027"/>
                  </a:cubicBezTo>
                  <a:cubicBezTo>
                    <a:pt x="161443" y="650302"/>
                    <a:pt x="169672" y="711465"/>
                    <a:pt x="158969" y="663302"/>
                  </a:cubicBezTo>
                  <a:cubicBezTo>
                    <a:pt x="157213" y="655400"/>
                    <a:pt x="157556" y="646859"/>
                    <a:pt x="154207" y="639490"/>
                  </a:cubicBezTo>
                  <a:cubicBezTo>
                    <a:pt x="149470" y="629068"/>
                    <a:pt x="135157" y="610915"/>
                    <a:pt x="135157" y="610915"/>
                  </a:cubicBezTo>
                  <a:cubicBezTo>
                    <a:pt x="130923" y="577049"/>
                    <a:pt x="140489" y="575481"/>
                    <a:pt x="116107" y="563290"/>
                  </a:cubicBezTo>
                  <a:cubicBezTo>
                    <a:pt x="111617" y="561045"/>
                    <a:pt x="106582" y="560115"/>
                    <a:pt x="101819" y="558527"/>
                  </a:cubicBezTo>
                  <a:cubicBezTo>
                    <a:pt x="98644" y="553765"/>
                    <a:pt x="94854" y="549359"/>
                    <a:pt x="92294" y="544240"/>
                  </a:cubicBezTo>
                  <a:cubicBezTo>
                    <a:pt x="87190" y="534032"/>
                    <a:pt x="84941" y="515914"/>
                    <a:pt x="82769" y="506140"/>
                  </a:cubicBezTo>
                  <a:cubicBezTo>
                    <a:pt x="81349" y="499750"/>
                    <a:pt x="79594" y="493440"/>
                    <a:pt x="78007" y="487090"/>
                  </a:cubicBezTo>
                  <a:cubicBezTo>
                    <a:pt x="79594" y="477565"/>
                    <a:pt x="77978" y="466899"/>
                    <a:pt x="82769" y="458515"/>
                  </a:cubicBezTo>
                  <a:cubicBezTo>
                    <a:pt x="85260" y="454156"/>
                    <a:pt x="92567" y="455997"/>
                    <a:pt x="97057" y="453752"/>
                  </a:cubicBezTo>
                  <a:cubicBezTo>
                    <a:pt x="102176" y="451192"/>
                    <a:pt x="106225" y="446787"/>
                    <a:pt x="111344" y="444227"/>
                  </a:cubicBezTo>
                  <a:cubicBezTo>
                    <a:pt x="118951" y="440424"/>
                    <a:pt x="137569" y="436734"/>
                    <a:pt x="144682" y="434702"/>
                  </a:cubicBezTo>
                  <a:cubicBezTo>
                    <a:pt x="192508" y="421037"/>
                    <a:pt x="118464" y="440067"/>
                    <a:pt x="178019" y="425177"/>
                  </a:cubicBezTo>
                  <a:cubicBezTo>
                    <a:pt x="191397" y="426393"/>
                    <a:pt x="226371" y="425541"/>
                    <a:pt x="244694" y="434702"/>
                  </a:cubicBezTo>
                  <a:cubicBezTo>
                    <a:pt x="249814" y="437262"/>
                    <a:pt x="254219" y="441052"/>
                    <a:pt x="258982" y="444227"/>
                  </a:cubicBezTo>
                  <a:cubicBezTo>
                    <a:pt x="263744" y="442640"/>
                    <a:pt x="269349" y="442601"/>
                    <a:pt x="273269" y="439465"/>
                  </a:cubicBezTo>
                  <a:cubicBezTo>
                    <a:pt x="277739" y="435889"/>
                    <a:pt x="277323" y="426860"/>
                    <a:pt x="282794" y="425177"/>
                  </a:cubicBezTo>
                  <a:cubicBezTo>
                    <a:pt x="299553" y="420020"/>
                    <a:pt x="317719" y="422002"/>
                    <a:pt x="335182" y="420415"/>
                  </a:cubicBezTo>
                  <a:cubicBezTo>
                    <a:pt x="339944" y="418827"/>
                    <a:pt x="344979" y="417897"/>
                    <a:pt x="349469" y="415652"/>
                  </a:cubicBezTo>
                  <a:cubicBezTo>
                    <a:pt x="354589" y="413092"/>
                    <a:pt x="358327" y="407937"/>
                    <a:pt x="363757" y="406127"/>
                  </a:cubicBezTo>
                  <a:cubicBezTo>
                    <a:pt x="372918" y="403074"/>
                    <a:pt x="382807" y="402952"/>
                    <a:pt x="392332" y="401365"/>
                  </a:cubicBezTo>
                  <a:cubicBezTo>
                    <a:pt x="397094" y="402952"/>
                    <a:pt x="402129" y="403882"/>
                    <a:pt x="406619" y="406127"/>
                  </a:cubicBezTo>
                  <a:cubicBezTo>
                    <a:pt x="411739" y="408687"/>
                    <a:pt x="415241" y="414842"/>
                    <a:pt x="420907" y="415652"/>
                  </a:cubicBezTo>
                  <a:cubicBezTo>
                    <a:pt x="427387" y="416578"/>
                    <a:pt x="433607" y="412477"/>
                    <a:pt x="439957" y="410890"/>
                  </a:cubicBezTo>
                  <a:cubicBezTo>
                    <a:pt x="441544" y="406127"/>
                    <a:pt x="443501" y="401472"/>
                    <a:pt x="444719" y="396602"/>
                  </a:cubicBezTo>
                  <a:lnTo>
                    <a:pt x="454244" y="358502"/>
                  </a:lnTo>
                  <a:cubicBezTo>
                    <a:pt x="452657" y="353740"/>
                    <a:pt x="452267" y="348392"/>
                    <a:pt x="449482" y="344215"/>
                  </a:cubicBezTo>
                  <a:cubicBezTo>
                    <a:pt x="442148" y="333214"/>
                    <a:pt x="431449" y="327430"/>
                    <a:pt x="420907" y="320402"/>
                  </a:cubicBezTo>
                  <a:cubicBezTo>
                    <a:pt x="412234" y="307392"/>
                    <a:pt x="404868" y="303979"/>
                    <a:pt x="416144" y="287065"/>
                  </a:cubicBezTo>
                  <a:cubicBezTo>
                    <a:pt x="422613" y="277362"/>
                    <a:pt x="453371" y="269894"/>
                    <a:pt x="459007" y="268015"/>
                  </a:cubicBezTo>
                  <a:lnTo>
                    <a:pt x="473294" y="263252"/>
                  </a:lnTo>
                  <a:cubicBezTo>
                    <a:pt x="478067" y="248934"/>
                    <a:pt x="477325" y="246986"/>
                    <a:pt x="487582" y="234677"/>
                  </a:cubicBezTo>
                  <a:cubicBezTo>
                    <a:pt x="491894" y="229503"/>
                    <a:pt x="495982" y="223661"/>
                    <a:pt x="501869" y="220390"/>
                  </a:cubicBezTo>
                  <a:cubicBezTo>
                    <a:pt x="510646" y="215514"/>
                    <a:pt x="530444" y="210865"/>
                    <a:pt x="530444" y="210865"/>
                  </a:cubicBezTo>
                  <a:cubicBezTo>
                    <a:pt x="535207" y="207690"/>
                    <a:pt x="541156" y="205810"/>
                    <a:pt x="544732" y="201340"/>
                  </a:cubicBezTo>
                  <a:cubicBezTo>
                    <a:pt x="557964" y="184800"/>
                    <a:pt x="537723" y="186213"/>
                    <a:pt x="563782" y="177527"/>
                  </a:cubicBezTo>
                  <a:lnTo>
                    <a:pt x="563782" y="177527"/>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15" name="Freeform 14"/>
            <p:cNvSpPr/>
            <p:nvPr>
              <p:custDataLst>
                <p:tags r:id="rId3"/>
              </p:custDataLst>
            </p:nvPr>
          </p:nvSpPr>
          <p:spPr bwMode="gray">
            <a:xfrm>
              <a:off x="2995799" y="1806575"/>
              <a:ext cx="2090570" cy="1829497"/>
            </a:xfrm>
            <a:custGeom>
              <a:avLst/>
              <a:gdLst>
                <a:gd name="connsiteX0" fmla="*/ 152400 w 2090570"/>
                <a:gd name="connsiteY0" fmla="*/ 1123950 h 1829497"/>
                <a:gd name="connsiteX1" fmla="*/ 146050 w 2090570"/>
                <a:gd name="connsiteY1" fmla="*/ 1098550 h 1829497"/>
                <a:gd name="connsiteX2" fmla="*/ 139700 w 2090570"/>
                <a:gd name="connsiteY2" fmla="*/ 1079500 h 1829497"/>
                <a:gd name="connsiteX3" fmla="*/ 142875 w 2090570"/>
                <a:gd name="connsiteY3" fmla="*/ 1069975 h 1829497"/>
                <a:gd name="connsiteX4" fmla="*/ 152400 w 2090570"/>
                <a:gd name="connsiteY4" fmla="*/ 1066800 h 1829497"/>
                <a:gd name="connsiteX5" fmla="*/ 158750 w 2090570"/>
                <a:gd name="connsiteY5" fmla="*/ 1047750 h 1829497"/>
                <a:gd name="connsiteX6" fmla="*/ 152400 w 2090570"/>
                <a:gd name="connsiteY6" fmla="*/ 1019175 h 1829497"/>
                <a:gd name="connsiteX7" fmla="*/ 146050 w 2090570"/>
                <a:gd name="connsiteY7" fmla="*/ 1000125 h 1829497"/>
                <a:gd name="connsiteX8" fmla="*/ 136525 w 2090570"/>
                <a:gd name="connsiteY8" fmla="*/ 981075 h 1829497"/>
                <a:gd name="connsiteX9" fmla="*/ 127000 w 2090570"/>
                <a:gd name="connsiteY9" fmla="*/ 977900 h 1829497"/>
                <a:gd name="connsiteX10" fmla="*/ 98425 w 2090570"/>
                <a:gd name="connsiteY10" fmla="*/ 984250 h 1829497"/>
                <a:gd name="connsiteX11" fmla="*/ 85725 w 2090570"/>
                <a:gd name="connsiteY11" fmla="*/ 987425 h 1829497"/>
                <a:gd name="connsiteX12" fmla="*/ 76200 w 2090570"/>
                <a:gd name="connsiteY12" fmla="*/ 984250 h 1829497"/>
                <a:gd name="connsiteX13" fmla="*/ 57150 w 2090570"/>
                <a:gd name="connsiteY13" fmla="*/ 971550 h 1829497"/>
                <a:gd name="connsiteX14" fmla="*/ 15875 w 2090570"/>
                <a:gd name="connsiteY14" fmla="*/ 965200 h 1829497"/>
                <a:gd name="connsiteX15" fmla="*/ 6350 w 2090570"/>
                <a:gd name="connsiteY15" fmla="*/ 958850 h 1829497"/>
                <a:gd name="connsiteX16" fmla="*/ 0 w 2090570"/>
                <a:gd name="connsiteY16" fmla="*/ 939800 h 1829497"/>
                <a:gd name="connsiteX17" fmla="*/ 6350 w 2090570"/>
                <a:gd name="connsiteY17" fmla="*/ 930275 h 1829497"/>
                <a:gd name="connsiteX18" fmla="*/ 15875 w 2090570"/>
                <a:gd name="connsiteY18" fmla="*/ 923925 h 1829497"/>
                <a:gd name="connsiteX19" fmla="*/ 19050 w 2090570"/>
                <a:gd name="connsiteY19" fmla="*/ 914400 h 1829497"/>
                <a:gd name="connsiteX20" fmla="*/ 12700 w 2090570"/>
                <a:gd name="connsiteY20" fmla="*/ 892175 h 1829497"/>
                <a:gd name="connsiteX21" fmla="*/ 9525 w 2090570"/>
                <a:gd name="connsiteY21" fmla="*/ 882650 h 1829497"/>
                <a:gd name="connsiteX22" fmla="*/ 3175 w 2090570"/>
                <a:gd name="connsiteY22" fmla="*/ 857250 h 1829497"/>
                <a:gd name="connsiteX23" fmla="*/ 12700 w 2090570"/>
                <a:gd name="connsiteY23" fmla="*/ 835025 h 1829497"/>
                <a:gd name="connsiteX24" fmla="*/ 22225 w 2090570"/>
                <a:gd name="connsiteY24" fmla="*/ 831850 h 1829497"/>
                <a:gd name="connsiteX25" fmla="*/ 31750 w 2090570"/>
                <a:gd name="connsiteY25" fmla="*/ 825500 h 1829497"/>
                <a:gd name="connsiteX26" fmla="*/ 85725 w 2090570"/>
                <a:gd name="connsiteY26" fmla="*/ 831850 h 1829497"/>
                <a:gd name="connsiteX27" fmla="*/ 98425 w 2090570"/>
                <a:gd name="connsiteY27" fmla="*/ 835025 h 1829497"/>
                <a:gd name="connsiteX28" fmla="*/ 120650 w 2090570"/>
                <a:gd name="connsiteY28" fmla="*/ 838200 h 1829497"/>
                <a:gd name="connsiteX29" fmla="*/ 158750 w 2090570"/>
                <a:gd name="connsiteY29" fmla="*/ 825500 h 1829497"/>
                <a:gd name="connsiteX30" fmla="*/ 155575 w 2090570"/>
                <a:gd name="connsiteY30" fmla="*/ 815975 h 1829497"/>
                <a:gd name="connsiteX31" fmla="*/ 158750 w 2090570"/>
                <a:gd name="connsiteY31" fmla="*/ 803275 h 1829497"/>
                <a:gd name="connsiteX32" fmla="*/ 168275 w 2090570"/>
                <a:gd name="connsiteY32" fmla="*/ 774700 h 1829497"/>
                <a:gd name="connsiteX33" fmla="*/ 171450 w 2090570"/>
                <a:gd name="connsiteY33" fmla="*/ 765175 h 1829497"/>
                <a:gd name="connsiteX34" fmla="*/ 174625 w 2090570"/>
                <a:gd name="connsiteY34" fmla="*/ 755650 h 1829497"/>
                <a:gd name="connsiteX35" fmla="*/ 180975 w 2090570"/>
                <a:gd name="connsiteY35" fmla="*/ 708025 h 1829497"/>
                <a:gd name="connsiteX36" fmla="*/ 187325 w 2090570"/>
                <a:gd name="connsiteY36" fmla="*/ 698500 h 1829497"/>
                <a:gd name="connsiteX37" fmla="*/ 190500 w 2090570"/>
                <a:gd name="connsiteY37" fmla="*/ 688975 h 1829497"/>
                <a:gd name="connsiteX38" fmla="*/ 200025 w 2090570"/>
                <a:gd name="connsiteY38" fmla="*/ 679450 h 1829497"/>
                <a:gd name="connsiteX39" fmla="*/ 219075 w 2090570"/>
                <a:gd name="connsiteY39" fmla="*/ 650875 h 1829497"/>
                <a:gd name="connsiteX40" fmla="*/ 225425 w 2090570"/>
                <a:gd name="connsiteY40" fmla="*/ 641350 h 1829497"/>
                <a:gd name="connsiteX41" fmla="*/ 228600 w 2090570"/>
                <a:gd name="connsiteY41" fmla="*/ 625475 h 1829497"/>
                <a:gd name="connsiteX42" fmla="*/ 234950 w 2090570"/>
                <a:gd name="connsiteY42" fmla="*/ 606425 h 1829497"/>
                <a:gd name="connsiteX43" fmla="*/ 231775 w 2090570"/>
                <a:gd name="connsiteY43" fmla="*/ 546100 h 1829497"/>
                <a:gd name="connsiteX44" fmla="*/ 238125 w 2090570"/>
                <a:gd name="connsiteY44" fmla="*/ 495300 h 1829497"/>
                <a:gd name="connsiteX45" fmla="*/ 241300 w 2090570"/>
                <a:gd name="connsiteY45" fmla="*/ 460375 h 1829497"/>
                <a:gd name="connsiteX46" fmla="*/ 247650 w 2090570"/>
                <a:gd name="connsiteY46" fmla="*/ 422275 h 1829497"/>
                <a:gd name="connsiteX47" fmla="*/ 250825 w 2090570"/>
                <a:gd name="connsiteY47" fmla="*/ 412750 h 1829497"/>
                <a:gd name="connsiteX48" fmla="*/ 260350 w 2090570"/>
                <a:gd name="connsiteY48" fmla="*/ 403225 h 1829497"/>
                <a:gd name="connsiteX49" fmla="*/ 266700 w 2090570"/>
                <a:gd name="connsiteY49" fmla="*/ 393700 h 1829497"/>
                <a:gd name="connsiteX50" fmla="*/ 269875 w 2090570"/>
                <a:gd name="connsiteY50" fmla="*/ 381000 h 1829497"/>
                <a:gd name="connsiteX51" fmla="*/ 260350 w 2090570"/>
                <a:gd name="connsiteY51" fmla="*/ 371475 h 1829497"/>
                <a:gd name="connsiteX52" fmla="*/ 219075 w 2090570"/>
                <a:gd name="connsiteY52" fmla="*/ 361950 h 1829497"/>
                <a:gd name="connsiteX53" fmla="*/ 177800 w 2090570"/>
                <a:gd name="connsiteY53" fmla="*/ 358775 h 1829497"/>
                <a:gd name="connsiteX54" fmla="*/ 165100 w 2090570"/>
                <a:gd name="connsiteY54" fmla="*/ 355600 h 1829497"/>
                <a:gd name="connsiteX55" fmla="*/ 168275 w 2090570"/>
                <a:gd name="connsiteY55" fmla="*/ 339725 h 1829497"/>
                <a:gd name="connsiteX56" fmla="*/ 165100 w 2090570"/>
                <a:gd name="connsiteY56" fmla="*/ 327025 h 1829497"/>
                <a:gd name="connsiteX57" fmla="*/ 171450 w 2090570"/>
                <a:gd name="connsiteY57" fmla="*/ 254000 h 1829497"/>
                <a:gd name="connsiteX58" fmla="*/ 174625 w 2090570"/>
                <a:gd name="connsiteY58" fmla="*/ 231775 h 1829497"/>
                <a:gd name="connsiteX59" fmla="*/ 193675 w 2090570"/>
                <a:gd name="connsiteY59" fmla="*/ 222250 h 1829497"/>
                <a:gd name="connsiteX60" fmla="*/ 219075 w 2090570"/>
                <a:gd name="connsiteY60" fmla="*/ 238125 h 1829497"/>
                <a:gd name="connsiteX61" fmla="*/ 228600 w 2090570"/>
                <a:gd name="connsiteY61" fmla="*/ 234950 h 1829497"/>
                <a:gd name="connsiteX62" fmla="*/ 225425 w 2090570"/>
                <a:gd name="connsiteY62" fmla="*/ 222250 h 1829497"/>
                <a:gd name="connsiteX63" fmla="*/ 206375 w 2090570"/>
                <a:gd name="connsiteY63" fmla="*/ 212725 h 1829497"/>
                <a:gd name="connsiteX64" fmla="*/ 200025 w 2090570"/>
                <a:gd name="connsiteY64" fmla="*/ 203200 h 1829497"/>
                <a:gd name="connsiteX65" fmla="*/ 203200 w 2090570"/>
                <a:gd name="connsiteY65" fmla="*/ 190500 h 1829497"/>
                <a:gd name="connsiteX66" fmla="*/ 219075 w 2090570"/>
                <a:gd name="connsiteY66" fmla="*/ 165100 h 1829497"/>
                <a:gd name="connsiteX67" fmla="*/ 228600 w 2090570"/>
                <a:gd name="connsiteY67" fmla="*/ 161925 h 1829497"/>
                <a:gd name="connsiteX68" fmla="*/ 257175 w 2090570"/>
                <a:gd name="connsiteY68" fmla="*/ 142875 h 1829497"/>
                <a:gd name="connsiteX69" fmla="*/ 266700 w 2090570"/>
                <a:gd name="connsiteY69" fmla="*/ 136525 h 1829497"/>
                <a:gd name="connsiteX70" fmla="*/ 304800 w 2090570"/>
                <a:gd name="connsiteY70" fmla="*/ 123825 h 1829497"/>
                <a:gd name="connsiteX71" fmla="*/ 314325 w 2090570"/>
                <a:gd name="connsiteY71" fmla="*/ 120650 h 1829497"/>
                <a:gd name="connsiteX72" fmla="*/ 355600 w 2090570"/>
                <a:gd name="connsiteY72" fmla="*/ 117475 h 1829497"/>
                <a:gd name="connsiteX73" fmla="*/ 384175 w 2090570"/>
                <a:gd name="connsiteY73" fmla="*/ 123825 h 1829497"/>
                <a:gd name="connsiteX74" fmla="*/ 403225 w 2090570"/>
                <a:gd name="connsiteY74" fmla="*/ 133350 h 1829497"/>
                <a:gd name="connsiteX75" fmla="*/ 438150 w 2090570"/>
                <a:gd name="connsiteY75" fmla="*/ 123825 h 1829497"/>
                <a:gd name="connsiteX76" fmla="*/ 438150 w 2090570"/>
                <a:gd name="connsiteY76" fmla="*/ 123825 h 1829497"/>
                <a:gd name="connsiteX77" fmla="*/ 450850 w 2090570"/>
                <a:gd name="connsiteY77" fmla="*/ 120650 h 1829497"/>
                <a:gd name="connsiteX78" fmla="*/ 469900 w 2090570"/>
                <a:gd name="connsiteY78" fmla="*/ 114300 h 1829497"/>
                <a:gd name="connsiteX79" fmla="*/ 479425 w 2090570"/>
                <a:gd name="connsiteY79" fmla="*/ 111125 h 1829497"/>
                <a:gd name="connsiteX80" fmla="*/ 523875 w 2090570"/>
                <a:gd name="connsiteY80" fmla="*/ 104775 h 1829497"/>
                <a:gd name="connsiteX81" fmla="*/ 571500 w 2090570"/>
                <a:gd name="connsiteY81" fmla="*/ 107950 h 1829497"/>
                <a:gd name="connsiteX82" fmla="*/ 590550 w 2090570"/>
                <a:gd name="connsiteY82" fmla="*/ 114300 h 1829497"/>
                <a:gd name="connsiteX83" fmla="*/ 600075 w 2090570"/>
                <a:gd name="connsiteY83" fmla="*/ 120650 h 1829497"/>
                <a:gd name="connsiteX84" fmla="*/ 606425 w 2090570"/>
                <a:gd name="connsiteY84" fmla="*/ 139700 h 1829497"/>
                <a:gd name="connsiteX85" fmla="*/ 609600 w 2090570"/>
                <a:gd name="connsiteY85" fmla="*/ 149225 h 1829497"/>
                <a:gd name="connsiteX86" fmla="*/ 612775 w 2090570"/>
                <a:gd name="connsiteY86" fmla="*/ 158750 h 1829497"/>
                <a:gd name="connsiteX87" fmla="*/ 628650 w 2090570"/>
                <a:gd name="connsiteY87" fmla="*/ 177800 h 1829497"/>
                <a:gd name="connsiteX88" fmla="*/ 641350 w 2090570"/>
                <a:gd name="connsiteY88" fmla="*/ 196850 h 1829497"/>
                <a:gd name="connsiteX89" fmla="*/ 647700 w 2090570"/>
                <a:gd name="connsiteY89" fmla="*/ 215900 h 1829497"/>
                <a:gd name="connsiteX90" fmla="*/ 635000 w 2090570"/>
                <a:gd name="connsiteY90" fmla="*/ 257175 h 1829497"/>
                <a:gd name="connsiteX91" fmla="*/ 625475 w 2090570"/>
                <a:gd name="connsiteY91" fmla="*/ 263525 h 1829497"/>
                <a:gd name="connsiteX92" fmla="*/ 622300 w 2090570"/>
                <a:gd name="connsiteY92" fmla="*/ 273050 h 1829497"/>
                <a:gd name="connsiteX93" fmla="*/ 635000 w 2090570"/>
                <a:gd name="connsiteY93" fmla="*/ 298450 h 1829497"/>
                <a:gd name="connsiteX94" fmla="*/ 644525 w 2090570"/>
                <a:gd name="connsiteY94" fmla="*/ 301625 h 1829497"/>
                <a:gd name="connsiteX95" fmla="*/ 650875 w 2090570"/>
                <a:gd name="connsiteY95" fmla="*/ 311150 h 1829497"/>
                <a:gd name="connsiteX96" fmla="*/ 660400 w 2090570"/>
                <a:gd name="connsiteY96" fmla="*/ 330200 h 1829497"/>
                <a:gd name="connsiteX97" fmla="*/ 669925 w 2090570"/>
                <a:gd name="connsiteY97" fmla="*/ 336550 h 1829497"/>
                <a:gd name="connsiteX98" fmla="*/ 679450 w 2090570"/>
                <a:gd name="connsiteY98" fmla="*/ 327025 h 1829497"/>
                <a:gd name="connsiteX99" fmla="*/ 685800 w 2090570"/>
                <a:gd name="connsiteY99" fmla="*/ 317500 h 1829497"/>
                <a:gd name="connsiteX100" fmla="*/ 704850 w 2090570"/>
                <a:gd name="connsiteY100" fmla="*/ 304800 h 1829497"/>
                <a:gd name="connsiteX101" fmla="*/ 708025 w 2090570"/>
                <a:gd name="connsiteY101" fmla="*/ 263525 h 1829497"/>
                <a:gd name="connsiteX102" fmla="*/ 704850 w 2090570"/>
                <a:gd name="connsiteY102" fmla="*/ 254000 h 1829497"/>
                <a:gd name="connsiteX103" fmla="*/ 695325 w 2090570"/>
                <a:gd name="connsiteY103" fmla="*/ 250825 h 1829497"/>
                <a:gd name="connsiteX104" fmla="*/ 679450 w 2090570"/>
                <a:gd name="connsiteY104" fmla="*/ 247650 h 1829497"/>
                <a:gd name="connsiteX105" fmla="*/ 676275 w 2090570"/>
                <a:gd name="connsiteY105" fmla="*/ 238125 h 1829497"/>
                <a:gd name="connsiteX106" fmla="*/ 685800 w 2090570"/>
                <a:gd name="connsiteY106" fmla="*/ 203200 h 1829497"/>
                <a:gd name="connsiteX107" fmla="*/ 695325 w 2090570"/>
                <a:gd name="connsiteY107" fmla="*/ 196850 h 1829497"/>
                <a:gd name="connsiteX108" fmla="*/ 714375 w 2090570"/>
                <a:gd name="connsiteY108" fmla="*/ 190500 h 1829497"/>
                <a:gd name="connsiteX109" fmla="*/ 739775 w 2090570"/>
                <a:gd name="connsiteY109" fmla="*/ 203200 h 1829497"/>
                <a:gd name="connsiteX110" fmla="*/ 752475 w 2090570"/>
                <a:gd name="connsiteY110" fmla="*/ 222250 h 1829497"/>
                <a:gd name="connsiteX111" fmla="*/ 777875 w 2090570"/>
                <a:gd name="connsiteY111" fmla="*/ 228600 h 1829497"/>
                <a:gd name="connsiteX112" fmla="*/ 806450 w 2090570"/>
                <a:gd name="connsiteY112" fmla="*/ 219075 h 1829497"/>
                <a:gd name="connsiteX113" fmla="*/ 809625 w 2090570"/>
                <a:gd name="connsiteY113" fmla="*/ 209550 h 1829497"/>
                <a:gd name="connsiteX114" fmla="*/ 803275 w 2090570"/>
                <a:gd name="connsiteY114" fmla="*/ 184150 h 1829497"/>
                <a:gd name="connsiteX115" fmla="*/ 800100 w 2090570"/>
                <a:gd name="connsiteY115" fmla="*/ 152400 h 1829497"/>
                <a:gd name="connsiteX116" fmla="*/ 793750 w 2090570"/>
                <a:gd name="connsiteY116" fmla="*/ 130175 h 1829497"/>
                <a:gd name="connsiteX117" fmla="*/ 800100 w 2090570"/>
                <a:gd name="connsiteY117" fmla="*/ 79375 h 1829497"/>
                <a:gd name="connsiteX118" fmla="*/ 806450 w 2090570"/>
                <a:gd name="connsiteY118" fmla="*/ 69850 h 1829497"/>
                <a:gd name="connsiteX119" fmla="*/ 815975 w 2090570"/>
                <a:gd name="connsiteY119" fmla="*/ 60325 h 1829497"/>
                <a:gd name="connsiteX120" fmla="*/ 822325 w 2090570"/>
                <a:gd name="connsiteY120" fmla="*/ 25400 h 1829497"/>
                <a:gd name="connsiteX121" fmla="*/ 825500 w 2090570"/>
                <a:gd name="connsiteY121" fmla="*/ 15875 h 1829497"/>
                <a:gd name="connsiteX122" fmla="*/ 844550 w 2090570"/>
                <a:gd name="connsiteY122" fmla="*/ 9525 h 1829497"/>
                <a:gd name="connsiteX123" fmla="*/ 854075 w 2090570"/>
                <a:gd name="connsiteY123" fmla="*/ 3175 h 1829497"/>
                <a:gd name="connsiteX124" fmla="*/ 866775 w 2090570"/>
                <a:gd name="connsiteY124" fmla="*/ 0 h 1829497"/>
                <a:gd name="connsiteX125" fmla="*/ 892175 w 2090570"/>
                <a:gd name="connsiteY125" fmla="*/ 6350 h 1829497"/>
                <a:gd name="connsiteX126" fmla="*/ 901700 w 2090570"/>
                <a:gd name="connsiteY126" fmla="*/ 12700 h 1829497"/>
                <a:gd name="connsiteX127" fmla="*/ 920750 w 2090570"/>
                <a:gd name="connsiteY127" fmla="*/ 19050 h 1829497"/>
                <a:gd name="connsiteX128" fmla="*/ 930275 w 2090570"/>
                <a:gd name="connsiteY128" fmla="*/ 25400 h 1829497"/>
                <a:gd name="connsiteX129" fmla="*/ 949325 w 2090570"/>
                <a:gd name="connsiteY129" fmla="*/ 31750 h 1829497"/>
                <a:gd name="connsiteX130" fmla="*/ 977900 w 2090570"/>
                <a:gd name="connsiteY130" fmla="*/ 25400 h 1829497"/>
                <a:gd name="connsiteX131" fmla="*/ 996950 w 2090570"/>
                <a:gd name="connsiteY131" fmla="*/ 12700 h 1829497"/>
                <a:gd name="connsiteX132" fmla="*/ 1006475 w 2090570"/>
                <a:gd name="connsiteY132" fmla="*/ 6350 h 1829497"/>
                <a:gd name="connsiteX133" fmla="*/ 1028700 w 2090570"/>
                <a:gd name="connsiteY133" fmla="*/ 0 h 1829497"/>
                <a:gd name="connsiteX134" fmla="*/ 1095375 w 2090570"/>
                <a:gd name="connsiteY134" fmla="*/ 3175 h 1829497"/>
                <a:gd name="connsiteX135" fmla="*/ 1127125 w 2090570"/>
                <a:gd name="connsiteY135" fmla="*/ 19050 h 1829497"/>
                <a:gd name="connsiteX136" fmla="*/ 1149350 w 2090570"/>
                <a:gd name="connsiteY136" fmla="*/ 34925 h 1829497"/>
                <a:gd name="connsiteX137" fmla="*/ 1168400 w 2090570"/>
                <a:gd name="connsiteY137" fmla="*/ 50800 h 1829497"/>
                <a:gd name="connsiteX138" fmla="*/ 1177925 w 2090570"/>
                <a:gd name="connsiteY138" fmla="*/ 69850 h 1829497"/>
                <a:gd name="connsiteX139" fmla="*/ 1181100 w 2090570"/>
                <a:gd name="connsiteY139" fmla="*/ 79375 h 1829497"/>
                <a:gd name="connsiteX140" fmla="*/ 1187450 w 2090570"/>
                <a:gd name="connsiteY140" fmla="*/ 88900 h 1829497"/>
                <a:gd name="connsiteX141" fmla="*/ 1190625 w 2090570"/>
                <a:gd name="connsiteY141" fmla="*/ 98425 h 1829497"/>
                <a:gd name="connsiteX142" fmla="*/ 1196975 w 2090570"/>
                <a:gd name="connsiteY142" fmla="*/ 107950 h 1829497"/>
                <a:gd name="connsiteX143" fmla="*/ 1200150 w 2090570"/>
                <a:gd name="connsiteY143" fmla="*/ 117475 h 1829497"/>
                <a:gd name="connsiteX144" fmla="*/ 1209675 w 2090570"/>
                <a:gd name="connsiteY144" fmla="*/ 123825 h 1829497"/>
                <a:gd name="connsiteX145" fmla="*/ 1219200 w 2090570"/>
                <a:gd name="connsiteY145" fmla="*/ 142875 h 1829497"/>
                <a:gd name="connsiteX146" fmla="*/ 1228725 w 2090570"/>
                <a:gd name="connsiteY146" fmla="*/ 161925 h 1829497"/>
                <a:gd name="connsiteX147" fmla="*/ 1238250 w 2090570"/>
                <a:gd name="connsiteY147" fmla="*/ 193675 h 1829497"/>
                <a:gd name="connsiteX148" fmla="*/ 1247775 w 2090570"/>
                <a:gd name="connsiteY148" fmla="*/ 196850 h 1829497"/>
                <a:gd name="connsiteX149" fmla="*/ 1266825 w 2090570"/>
                <a:gd name="connsiteY149" fmla="*/ 206375 h 1829497"/>
                <a:gd name="connsiteX150" fmla="*/ 1285875 w 2090570"/>
                <a:gd name="connsiteY150" fmla="*/ 215900 h 1829497"/>
                <a:gd name="connsiteX151" fmla="*/ 1295400 w 2090570"/>
                <a:gd name="connsiteY151" fmla="*/ 222250 h 1829497"/>
                <a:gd name="connsiteX152" fmla="*/ 1314450 w 2090570"/>
                <a:gd name="connsiteY152" fmla="*/ 228600 h 1829497"/>
                <a:gd name="connsiteX153" fmla="*/ 1323975 w 2090570"/>
                <a:gd name="connsiteY153" fmla="*/ 234950 h 1829497"/>
                <a:gd name="connsiteX154" fmla="*/ 1330325 w 2090570"/>
                <a:gd name="connsiteY154" fmla="*/ 244475 h 1829497"/>
                <a:gd name="connsiteX155" fmla="*/ 1339850 w 2090570"/>
                <a:gd name="connsiteY155" fmla="*/ 279400 h 1829497"/>
                <a:gd name="connsiteX156" fmla="*/ 1346200 w 2090570"/>
                <a:gd name="connsiteY156" fmla="*/ 304800 h 1829497"/>
                <a:gd name="connsiteX157" fmla="*/ 1355725 w 2090570"/>
                <a:gd name="connsiteY157" fmla="*/ 311150 h 1829497"/>
                <a:gd name="connsiteX158" fmla="*/ 1384300 w 2090570"/>
                <a:gd name="connsiteY158" fmla="*/ 317500 h 1829497"/>
                <a:gd name="connsiteX159" fmla="*/ 1403350 w 2090570"/>
                <a:gd name="connsiteY159" fmla="*/ 323850 h 1829497"/>
                <a:gd name="connsiteX160" fmla="*/ 1431925 w 2090570"/>
                <a:gd name="connsiteY160" fmla="*/ 317500 h 1829497"/>
                <a:gd name="connsiteX161" fmla="*/ 1450975 w 2090570"/>
                <a:gd name="connsiteY161" fmla="*/ 311150 h 1829497"/>
                <a:gd name="connsiteX162" fmla="*/ 1479550 w 2090570"/>
                <a:gd name="connsiteY162" fmla="*/ 320675 h 1829497"/>
                <a:gd name="connsiteX163" fmla="*/ 1492250 w 2090570"/>
                <a:gd name="connsiteY163" fmla="*/ 336550 h 1829497"/>
                <a:gd name="connsiteX164" fmla="*/ 1511300 w 2090570"/>
                <a:gd name="connsiteY164" fmla="*/ 342900 h 1829497"/>
                <a:gd name="connsiteX165" fmla="*/ 1527175 w 2090570"/>
                <a:gd name="connsiteY165" fmla="*/ 330200 h 1829497"/>
                <a:gd name="connsiteX166" fmla="*/ 1546225 w 2090570"/>
                <a:gd name="connsiteY166" fmla="*/ 320675 h 1829497"/>
                <a:gd name="connsiteX167" fmla="*/ 1577975 w 2090570"/>
                <a:gd name="connsiteY167" fmla="*/ 323850 h 1829497"/>
                <a:gd name="connsiteX168" fmla="*/ 1587500 w 2090570"/>
                <a:gd name="connsiteY168" fmla="*/ 333375 h 1829497"/>
                <a:gd name="connsiteX169" fmla="*/ 1606550 w 2090570"/>
                <a:gd name="connsiteY169" fmla="*/ 346075 h 1829497"/>
                <a:gd name="connsiteX170" fmla="*/ 1606550 w 2090570"/>
                <a:gd name="connsiteY170" fmla="*/ 346075 h 1829497"/>
                <a:gd name="connsiteX171" fmla="*/ 1631950 w 2090570"/>
                <a:gd name="connsiteY171" fmla="*/ 352425 h 1829497"/>
                <a:gd name="connsiteX172" fmla="*/ 1651000 w 2090570"/>
                <a:gd name="connsiteY172" fmla="*/ 358775 h 1829497"/>
                <a:gd name="connsiteX173" fmla="*/ 1660525 w 2090570"/>
                <a:gd name="connsiteY173" fmla="*/ 361950 h 1829497"/>
                <a:gd name="connsiteX174" fmla="*/ 1682750 w 2090570"/>
                <a:gd name="connsiteY174" fmla="*/ 365125 h 1829497"/>
                <a:gd name="connsiteX175" fmla="*/ 1701800 w 2090570"/>
                <a:gd name="connsiteY175" fmla="*/ 371475 h 1829497"/>
                <a:gd name="connsiteX176" fmla="*/ 1724025 w 2090570"/>
                <a:gd name="connsiteY176" fmla="*/ 377825 h 1829497"/>
                <a:gd name="connsiteX177" fmla="*/ 1727200 w 2090570"/>
                <a:gd name="connsiteY177" fmla="*/ 387350 h 1829497"/>
                <a:gd name="connsiteX178" fmla="*/ 1736725 w 2090570"/>
                <a:gd name="connsiteY178" fmla="*/ 396875 h 1829497"/>
                <a:gd name="connsiteX179" fmla="*/ 1749425 w 2090570"/>
                <a:gd name="connsiteY179" fmla="*/ 400050 h 1829497"/>
                <a:gd name="connsiteX180" fmla="*/ 1778000 w 2090570"/>
                <a:gd name="connsiteY180" fmla="*/ 403225 h 1829497"/>
                <a:gd name="connsiteX181" fmla="*/ 1790700 w 2090570"/>
                <a:gd name="connsiteY181" fmla="*/ 400050 h 1829497"/>
                <a:gd name="connsiteX182" fmla="*/ 1812925 w 2090570"/>
                <a:gd name="connsiteY182" fmla="*/ 384175 h 1829497"/>
                <a:gd name="connsiteX183" fmla="*/ 1825625 w 2090570"/>
                <a:gd name="connsiteY183" fmla="*/ 381000 h 1829497"/>
                <a:gd name="connsiteX184" fmla="*/ 1835150 w 2090570"/>
                <a:gd name="connsiteY184" fmla="*/ 384175 h 1829497"/>
                <a:gd name="connsiteX185" fmla="*/ 1838325 w 2090570"/>
                <a:gd name="connsiteY185" fmla="*/ 393700 h 1829497"/>
                <a:gd name="connsiteX186" fmla="*/ 1847850 w 2090570"/>
                <a:gd name="connsiteY186" fmla="*/ 403225 h 1829497"/>
                <a:gd name="connsiteX187" fmla="*/ 1863725 w 2090570"/>
                <a:gd name="connsiteY187" fmla="*/ 431800 h 1829497"/>
                <a:gd name="connsiteX188" fmla="*/ 1866900 w 2090570"/>
                <a:gd name="connsiteY188" fmla="*/ 441325 h 1829497"/>
                <a:gd name="connsiteX189" fmla="*/ 1892300 w 2090570"/>
                <a:gd name="connsiteY189" fmla="*/ 469900 h 1829497"/>
                <a:gd name="connsiteX190" fmla="*/ 1898650 w 2090570"/>
                <a:gd name="connsiteY190" fmla="*/ 479425 h 1829497"/>
                <a:gd name="connsiteX191" fmla="*/ 1917700 w 2090570"/>
                <a:gd name="connsiteY191" fmla="*/ 488950 h 1829497"/>
                <a:gd name="connsiteX192" fmla="*/ 1936750 w 2090570"/>
                <a:gd name="connsiteY192" fmla="*/ 504825 h 1829497"/>
                <a:gd name="connsiteX193" fmla="*/ 1943100 w 2090570"/>
                <a:gd name="connsiteY193" fmla="*/ 523875 h 1829497"/>
                <a:gd name="connsiteX194" fmla="*/ 1952625 w 2090570"/>
                <a:gd name="connsiteY194" fmla="*/ 533400 h 1829497"/>
                <a:gd name="connsiteX195" fmla="*/ 1971675 w 2090570"/>
                <a:gd name="connsiteY195" fmla="*/ 561975 h 1829497"/>
                <a:gd name="connsiteX196" fmla="*/ 1981200 w 2090570"/>
                <a:gd name="connsiteY196" fmla="*/ 568325 h 1829497"/>
                <a:gd name="connsiteX197" fmla="*/ 2003425 w 2090570"/>
                <a:gd name="connsiteY197" fmla="*/ 577850 h 1829497"/>
                <a:gd name="connsiteX198" fmla="*/ 2047875 w 2090570"/>
                <a:gd name="connsiteY198" fmla="*/ 584200 h 1829497"/>
                <a:gd name="connsiteX199" fmla="*/ 2082800 w 2090570"/>
                <a:gd name="connsiteY199" fmla="*/ 593725 h 1829497"/>
                <a:gd name="connsiteX200" fmla="*/ 2089150 w 2090570"/>
                <a:gd name="connsiteY200" fmla="*/ 612775 h 1829497"/>
                <a:gd name="connsiteX201" fmla="*/ 2079625 w 2090570"/>
                <a:gd name="connsiteY201" fmla="*/ 622300 h 1829497"/>
                <a:gd name="connsiteX202" fmla="*/ 2060575 w 2090570"/>
                <a:gd name="connsiteY202" fmla="*/ 631825 h 1829497"/>
                <a:gd name="connsiteX203" fmla="*/ 2057400 w 2090570"/>
                <a:gd name="connsiteY203" fmla="*/ 641350 h 1829497"/>
                <a:gd name="connsiteX204" fmla="*/ 2054225 w 2090570"/>
                <a:gd name="connsiteY204" fmla="*/ 657225 h 1829497"/>
                <a:gd name="connsiteX205" fmla="*/ 2041525 w 2090570"/>
                <a:gd name="connsiteY205" fmla="*/ 663575 h 1829497"/>
                <a:gd name="connsiteX206" fmla="*/ 2022475 w 2090570"/>
                <a:gd name="connsiteY206" fmla="*/ 676275 h 1829497"/>
                <a:gd name="connsiteX207" fmla="*/ 2000250 w 2090570"/>
                <a:gd name="connsiteY207" fmla="*/ 704850 h 1829497"/>
                <a:gd name="connsiteX208" fmla="*/ 1984375 w 2090570"/>
                <a:gd name="connsiteY208" fmla="*/ 708025 h 1829497"/>
                <a:gd name="connsiteX209" fmla="*/ 1974850 w 2090570"/>
                <a:gd name="connsiteY209" fmla="*/ 711200 h 1829497"/>
                <a:gd name="connsiteX210" fmla="*/ 1939925 w 2090570"/>
                <a:gd name="connsiteY210" fmla="*/ 701675 h 1829497"/>
                <a:gd name="connsiteX211" fmla="*/ 1936750 w 2090570"/>
                <a:gd name="connsiteY211" fmla="*/ 692150 h 1829497"/>
                <a:gd name="connsiteX212" fmla="*/ 1866900 w 2090570"/>
                <a:gd name="connsiteY212" fmla="*/ 698500 h 1829497"/>
                <a:gd name="connsiteX213" fmla="*/ 1847850 w 2090570"/>
                <a:gd name="connsiteY213" fmla="*/ 704850 h 1829497"/>
                <a:gd name="connsiteX214" fmla="*/ 1831975 w 2090570"/>
                <a:gd name="connsiteY214" fmla="*/ 720725 h 1829497"/>
                <a:gd name="connsiteX215" fmla="*/ 1822450 w 2090570"/>
                <a:gd name="connsiteY215" fmla="*/ 727075 h 1829497"/>
                <a:gd name="connsiteX216" fmla="*/ 1771650 w 2090570"/>
                <a:gd name="connsiteY216" fmla="*/ 736600 h 1829497"/>
                <a:gd name="connsiteX217" fmla="*/ 1752600 w 2090570"/>
                <a:gd name="connsiteY217" fmla="*/ 746125 h 1829497"/>
                <a:gd name="connsiteX218" fmla="*/ 1755775 w 2090570"/>
                <a:gd name="connsiteY218" fmla="*/ 765175 h 1829497"/>
                <a:gd name="connsiteX219" fmla="*/ 1765300 w 2090570"/>
                <a:gd name="connsiteY219" fmla="*/ 796925 h 1829497"/>
                <a:gd name="connsiteX220" fmla="*/ 1768475 w 2090570"/>
                <a:gd name="connsiteY220" fmla="*/ 806450 h 1829497"/>
                <a:gd name="connsiteX221" fmla="*/ 1774825 w 2090570"/>
                <a:gd name="connsiteY221" fmla="*/ 838200 h 1829497"/>
                <a:gd name="connsiteX222" fmla="*/ 1781175 w 2090570"/>
                <a:gd name="connsiteY222" fmla="*/ 847725 h 1829497"/>
                <a:gd name="connsiteX223" fmla="*/ 1800225 w 2090570"/>
                <a:gd name="connsiteY223" fmla="*/ 869950 h 1829497"/>
                <a:gd name="connsiteX224" fmla="*/ 1809750 w 2090570"/>
                <a:gd name="connsiteY224" fmla="*/ 889000 h 1829497"/>
                <a:gd name="connsiteX225" fmla="*/ 1822450 w 2090570"/>
                <a:gd name="connsiteY225" fmla="*/ 908050 h 1829497"/>
                <a:gd name="connsiteX226" fmla="*/ 1825625 w 2090570"/>
                <a:gd name="connsiteY226" fmla="*/ 917575 h 1829497"/>
                <a:gd name="connsiteX227" fmla="*/ 1831975 w 2090570"/>
                <a:gd name="connsiteY227" fmla="*/ 927100 h 1829497"/>
                <a:gd name="connsiteX228" fmla="*/ 1835150 w 2090570"/>
                <a:gd name="connsiteY228" fmla="*/ 939800 h 1829497"/>
                <a:gd name="connsiteX229" fmla="*/ 1838325 w 2090570"/>
                <a:gd name="connsiteY229" fmla="*/ 949325 h 1829497"/>
                <a:gd name="connsiteX230" fmla="*/ 1841500 w 2090570"/>
                <a:gd name="connsiteY230" fmla="*/ 965200 h 1829497"/>
                <a:gd name="connsiteX231" fmla="*/ 1851025 w 2090570"/>
                <a:gd name="connsiteY231" fmla="*/ 971550 h 1829497"/>
                <a:gd name="connsiteX232" fmla="*/ 1841500 w 2090570"/>
                <a:gd name="connsiteY232" fmla="*/ 981075 h 1829497"/>
                <a:gd name="connsiteX233" fmla="*/ 1831975 w 2090570"/>
                <a:gd name="connsiteY233" fmla="*/ 987425 h 1829497"/>
                <a:gd name="connsiteX234" fmla="*/ 1847850 w 2090570"/>
                <a:gd name="connsiteY234" fmla="*/ 1016000 h 1829497"/>
                <a:gd name="connsiteX235" fmla="*/ 1860550 w 2090570"/>
                <a:gd name="connsiteY235" fmla="*/ 1038225 h 1829497"/>
                <a:gd name="connsiteX236" fmla="*/ 1879600 w 2090570"/>
                <a:gd name="connsiteY236" fmla="*/ 1054100 h 1829497"/>
                <a:gd name="connsiteX237" fmla="*/ 1889125 w 2090570"/>
                <a:gd name="connsiteY237" fmla="*/ 1063625 h 1829497"/>
                <a:gd name="connsiteX238" fmla="*/ 1873250 w 2090570"/>
                <a:gd name="connsiteY238" fmla="*/ 1079500 h 1829497"/>
                <a:gd name="connsiteX239" fmla="*/ 1857375 w 2090570"/>
                <a:gd name="connsiteY239" fmla="*/ 1095375 h 1829497"/>
                <a:gd name="connsiteX240" fmla="*/ 1870075 w 2090570"/>
                <a:gd name="connsiteY240" fmla="*/ 1136650 h 1829497"/>
                <a:gd name="connsiteX241" fmla="*/ 1879600 w 2090570"/>
                <a:gd name="connsiteY241" fmla="*/ 1143000 h 1829497"/>
                <a:gd name="connsiteX242" fmla="*/ 1885950 w 2090570"/>
                <a:gd name="connsiteY242" fmla="*/ 1152525 h 1829497"/>
                <a:gd name="connsiteX243" fmla="*/ 1885950 w 2090570"/>
                <a:gd name="connsiteY243" fmla="*/ 1171575 h 1829497"/>
                <a:gd name="connsiteX244" fmla="*/ 1876425 w 2090570"/>
                <a:gd name="connsiteY244" fmla="*/ 1177925 h 1829497"/>
                <a:gd name="connsiteX245" fmla="*/ 1866900 w 2090570"/>
                <a:gd name="connsiteY245" fmla="*/ 1187450 h 1829497"/>
                <a:gd name="connsiteX246" fmla="*/ 1876425 w 2090570"/>
                <a:gd name="connsiteY246" fmla="*/ 1206500 h 1829497"/>
                <a:gd name="connsiteX247" fmla="*/ 1879600 w 2090570"/>
                <a:gd name="connsiteY247" fmla="*/ 1216025 h 1829497"/>
                <a:gd name="connsiteX248" fmla="*/ 1870075 w 2090570"/>
                <a:gd name="connsiteY248" fmla="*/ 1225550 h 1829497"/>
                <a:gd name="connsiteX249" fmla="*/ 1863725 w 2090570"/>
                <a:gd name="connsiteY249" fmla="*/ 1244600 h 1829497"/>
                <a:gd name="connsiteX250" fmla="*/ 1857375 w 2090570"/>
                <a:gd name="connsiteY250" fmla="*/ 1263650 h 1829497"/>
                <a:gd name="connsiteX251" fmla="*/ 1844675 w 2090570"/>
                <a:gd name="connsiteY251" fmla="*/ 1282700 h 1829497"/>
                <a:gd name="connsiteX252" fmla="*/ 1825625 w 2090570"/>
                <a:gd name="connsiteY252" fmla="*/ 1292225 h 1829497"/>
                <a:gd name="connsiteX253" fmla="*/ 1803400 w 2090570"/>
                <a:gd name="connsiteY253" fmla="*/ 1289050 h 1829497"/>
                <a:gd name="connsiteX254" fmla="*/ 1784350 w 2090570"/>
                <a:gd name="connsiteY254" fmla="*/ 1292225 h 1829497"/>
                <a:gd name="connsiteX255" fmla="*/ 1755775 w 2090570"/>
                <a:gd name="connsiteY255" fmla="*/ 1301750 h 1829497"/>
                <a:gd name="connsiteX256" fmla="*/ 1724025 w 2090570"/>
                <a:gd name="connsiteY256" fmla="*/ 1304925 h 1829497"/>
                <a:gd name="connsiteX257" fmla="*/ 1704975 w 2090570"/>
                <a:gd name="connsiteY257" fmla="*/ 1311275 h 1829497"/>
                <a:gd name="connsiteX258" fmla="*/ 1685925 w 2090570"/>
                <a:gd name="connsiteY258" fmla="*/ 1327150 h 1829497"/>
                <a:gd name="connsiteX259" fmla="*/ 1682750 w 2090570"/>
                <a:gd name="connsiteY259" fmla="*/ 1336675 h 1829497"/>
                <a:gd name="connsiteX260" fmla="*/ 1695450 w 2090570"/>
                <a:gd name="connsiteY260" fmla="*/ 1358900 h 1829497"/>
                <a:gd name="connsiteX261" fmla="*/ 1704975 w 2090570"/>
                <a:gd name="connsiteY261" fmla="*/ 1377950 h 1829497"/>
                <a:gd name="connsiteX262" fmla="*/ 1708150 w 2090570"/>
                <a:gd name="connsiteY262" fmla="*/ 1387475 h 1829497"/>
                <a:gd name="connsiteX263" fmla="*/ 1698625 w 2090570"/>
                <a:gd name="connsiteY263" fmla="*/ 1416050 h 1829497"/>
                <a:gd name="connsiteX264" fmla="*/ 1685925 w 2090570"/>
                <a:gd name="connsiteY264" fmla="*/ 1422400 h 1829497"/>
                <a:gd name="connsiteX265" fmla="*/ 1682750 w 2090570"/>
                <a:gd name="connsiteY265" fmla="*/ 1431925 h 1829497"/>
                <a:gd name="connsiteX266" fmla="*/ 1673225 w 2090570"/>
                <a:gd name="connsiteY266" fmla="*/ 1441450 h 1829497"/>
                <a:gd name="connsiteX267" fmla="*/ 1682750 w 2090570"/>
                <a:gd name="connsiteY267" fmla="*/ 1466850 h 1829497"/>
                <a:gd name="connsiteX268" fmla="*/ 1689100 w 2090570"/>
                <a:gd name="connsiteY268" fmla="*/ 1485900 h 1829497"/>
                <a:gd name="connsiteX269" fmla="*/ 1698625 w 2090570"/>
                <a:gd name="connsiteY269" fmla="*/ 1514475 h 1829497"/>
                <a:gd name="connsiteX270" fmla="*/ 1704975 w 2090570"/>
                <a:gd name="connsiteY270" fmla="*/ 1543050 h 1829497"/>
                <a:gd name="connsiteX271" fmla="*/ 1714500 w 2090570"/>
                <a:gd name="connsiteY271" fmla="*/ 1577975 h 1829497"/>
                <a:gd name="connsiteX272" fmla="*/ 1704975 w 2090570"/>
                <a:gd name="connsiteY272" fmla="*/ 1625600 h 1829497"/>
                <a:gd name="connsiteX273" fmla="*/ 1695450 w 2090570"/>
                <a:gd name="connsiteY273" fmla="*/ 1631950 h 1829497"/>
                <a:gd name="connsiteX274" fmla="*/ 1682750 w 2090570"/>
                <a:gd name="connsiteY274" fmla="*/ 1628775 h 1829497"/>
                <a:gd name="connsiteX275" fmla="*/ 1673225 w 2090570"/>
                <a:gd name="connsiteY275" fmla="*/ 1625600 h 1829497"/>
                <a:gd name="connsiteX276" fmla="*/ 1638300 w 2090570"/>
                <a:gd name="connsiteY276" fmla="*/ 1628775 h 1829497"/>
                <a:gd name="connsiteX277" fmla="*/ 1622425 w 2090570"/>
                <a:gd name="connsiteY277" fmla="*/ 1625600 h 1829497"/>
                <a:gd name="connsiteX278" fmla="*/ 1612900 w 2090570"/>
                <a:gd name="connsiteY278" fmla="*/ 1622425 h 1829497"/>
                <a:gd name="connsiteX279" fmla="*/ 1590675 w 2090570"/>
                <a:gd name="connsiteY279" fmla="*/ 1625600 h 1829497"/>
                <a:gd name="connsiteX280" fmla="*/ 1581150 w 2090570"/>
                <a:gd name="connsiteY280" fmla="*/ 1628775 h 1829497"/>
                <a:gd name="connsiteX281" fmla="*/ 1577975 w 2090570"/>
                <a:gd name="connsiteY281" fmla="*/ 1638300 h 1829497"/>
                <a:gd name="connsiteX282" fmla="*/ 1571625 w 2090570"/>
                <a:gd name="connsiteY282" fmla="*/ 1647825 h 1829497"/>
                <a:gd name="connsiteX283" fmla="*/ 1555750 w 2090570"/>
                <a:gd name="connsiteY283" fmla="*/ 1676400 h 1829497"/>
                <a:gd name="connsiteX284" fmla="*/ 1543050 w 2090570"/>
                <a:gd name="connsiteY284" fmla="*/ 1682750 h 1829497"/>
                <a:gd name="connsiteX285" fmla="*/ 1524000 w 2090570"/>
                <a:gd name="connsiteY285" fmla="*/ 1695450 h 1829497"/>
                <a:gd name="connsiteX286" fmla="*/ 1517650 w 2090570"/>
                <a:gd name="connsiteY286" fmla="*/ 1704975 h 1829497"/>
                <a:gd name="connsiteX287" fmla="*/ 1508125 w 2090570"/>
                <a:gd name="connsiteY287" fmla="*/ 1708150 h 1829497"/>
                <a:gd name="connsiteX288" fmla="*/ 1498600 w 2090570"/>
                <a:gd name="connsiteY288" fmla="*/ 1714500 h 1829497"/>
                <a:gd name="connsiteX289" fmla="*/ 1479550 w 2090570"/>
                <a:gd name="connsiteY289" fmla="*/ 1720850 h 1829497"/>
                <a:gd name="connsiteX290" fmla="*/ 1470025 w 2090570"/>
                <a:gd name="connsiteY290" fmla="*/ 1724025 h 1829497"/>
                <a:gd name="connsiteX291" fmla="*/ 1460500 w 2090570"/>
                <a:gd name="connsiteY291" fmla="*/ 1727200 h 1829497"/>
                <a:gd name="connsiteX292" fmla="*/ 1450975 w 2090570"/>
                <a:gd name="connsiteY292" fmla="*/ 1733550 h 1829497"/>
                <a:gd name="connsiteX293" fmla="*/ 1431925 w 2090570"/>
                <a:gd name="connsiteY293" fmla="*/ 1739900 h 1829497"/>
                <a:gd name="connsiteX294" fmla="*/ 1409700 w 2090570"/>
                <a:gd name="connsiteY294" fmla="*/ 1755775 h 1829497"/>
                <a:gd name="connsiteX295" fmla="*/ 1403350 w 2090570"/>
                <a:gd name="connsiteY295" fmla="*/ 1765300 h 1829497"/>
                <a:gd name="connsiteX296" fmla="*/ 1374775 w 2090570"/>
                <a:gd name="connsiteY296" fmla="*/ 1743075 h 1829497"/>
                <a:gd name="connsiteX297" fmla="*/ 1327150 w 2090570"/>
                <a:gd name="connsiteY297" fmla="*/ 1746250 h 1829497"/>
                <a:gd name="connsiteX298" fmla="*/ 1314450 w 2090570"/>
                <a:gd name="connsiteY298" fmla="*/ 1749425 h 1829497"/>
                <a:gd name="connsiteX299" fmla="*/ 1304925 w 2090570"/>
                <a:gd name="connsiteY299" fmla="*/ 1768475 h 1829497"/>
                <a:gd name="connsiteX300" fmla="*/ 1314450 w 2090570"/>
                <a:gd name="connsiteY300" fmla="*/ 1803400 h 1829497"/>
                <a:gd name="connsiteX301" fmla="*/ 1317625 w 2090570"/>
                <a:gd name="connsiteY301" fmla="*/ 1812925 h 1829497"/>
                <a:gd name="connsiteX302" fmla="*/ 1311275 w 2090570"/>
                <a:gd name="connsiteY302" fmla="*/ 1822450 h 1829497"/>
                <a:gd name="connsiteX303" fmla="*/ 1301750 w 2090570"/>
                <a:gd name="connsiteY303" fmla="*/ 1828800 h 1829497"/>
                <a:gd name="connsiteX304" fmla="*/ 1276350 w 2090570"/>
                <a:gd name="connsiteY304" fmla="*/ 1822450 h 1829497"/>
                <a:gd name="connsiteX305" fmla="*/ 1257300 w 2090570"/>
                <a:gd name="connsiteY305" fmla="*/ 1809750 h 1829497"/>
                <a:gd name="connsiteX306" fmla="*/ 1247775 w 2090570"/>
                <a:gd name="connsiteY306" fmla="*/ 1803400 h 1829497"/>
                <a:gd name="connsiteX307" fmla="*/ 1238250 w 2090570"/>
                <a:gd name="connsiteY307" fmla="*/ 1800225 h 1829497"/>
                <a:gd name="connsiteX308" fmla="*/ 1222375 w 2090570"/>
                <a:gd name="connsiteY308" fmla="*/ 1781175 h 1829497"/>
                <a:gd name="connsiteX309" fmla="*/ 1228725 w 2090570"/>
                <a:gd name="connsiteY309" fmla="*/ 1752600 h 1829497"/>
                <a:gd name="connsiteX310" fmla="*/ 1250950 w 2090570"/>
                <a:gd name="connsiteY310" fmla="*/ 1739900 h 1829497"/>
                <a:gd name="connsiteX311" fmla="*/ 1260475 w 2090570"/>
                <a:gd name="connsiteY311" fmla="*/ 1720850 h 1829497"/>
                <a:gd name="connsiteX312" fmla="*/ 1257300 w 2090570"/>
                <a:gd name="connsiteY312" fmla="*/ 1704975 h 1829497"/>
                <a:gd name="connsiteX313" fmla="*/ 1250950 w 2090570"/>
                <a:gd name="connsiteY313" fmla="*/ 1695450 h 1829497"/>
                <a:gd name="connsiteX314" fmla="*/ 1244600 w 2090570"/>
                <a:gd name="connsiteY314" fmla="*/ 1676400 h 1829497"/>
                <a:gd name="connsiteX315" fmla="*/ 1241425 w 2090570"/>
                <a:gd name="connsiteY315" fmla="*/ 1666875 h 1829497"/>
                <a:gd name="connsiteX316" fmla="*/ 1244600 w 2090570"/>
                <a:gd name="connsiteY316" fmla="*/ 1654175 h 1829497"/>
                <a:gd name="connsiteX317" fmla="*/ 1263650 w 2090570"/>
                <a:gd name="connsiteY317" fmla="*/ 1644650 h 1829497"/>
                <a:gd name="connsiteX318" fmla="*/ 1276350 w 2090570"/>
                <a:gd name="connsiteY318" fmla="*/ 1638300 h 1829497"/>
                <a:gd name="connsiteX319" fmla="*/ 1282700 w 2090570"/>
                <a:gd name="connsiteY319" fmla="*/ 1628775 h 1829497"/>
                <a:gd name="connsiteX320" fmla="*/ 1279525 w 2090570"/>
                <a:gd name="connsiteY320" fmla="*/ 1619250 h 1829497"/>
                <a:gd name="connsiteX321" fmla="*/ 1263650 w 2090570"/>
                <a:gd name="connsiteY321" fmla="*/ 1600200 h 1829497"/>
                <a:gd name="connsiteX322" fmla="*/ 1206500 w 2090570"/>
                <a:gd name="connsiteY322" fmla="*/ 1590675 h 1829497"/>
                <a:gd name="connsiteX323" fmla="*/ 1190625 w 2090570"/>
                <a:gd name="connsiteY323" fmla="*/ 1571625 h 1829497"/>
                <a:gd name="connsiteX324" fmla="*/ 1171575 w 2090570"/>
                <a:gd name="connsiteY324" fmla="*/ 1574800 h 1829497"/>
                <a:gd name="connsiteX325" fmla="*/ 1162050 w 2090570"/>
                <a:gd name="connsiteY325" fmla="*/ 1577975 h 1829497"/>
                <a:gd name="connsiteX326" fmla="*/ 1155700 w 2090570"/>
                <a:gd name="connsiteY326" fmla="*/ 1568450 h 1829497"/>
                <a:gd name="connsiteX327" fmla="*/ 1158875 w 2090570"/>
                <a:gd name="connsiteY327" fmla="*/ 1530350 h 1829497"/>
                <a:gd name="connsiteX328" fmla="*/ 1162050 w 2090570"/>
                <a:gd name="connsiteY328" fmla="*/ 1511300 h 1829497"/>
                <a:gd name="connsiteX329" fmla="*/ 1168400 w 2090570"/>
                <a:gd name="connsiteY329" fmla="*/ 1479550 h 1829497"/>
                <a:gd name="connsiteX330" fmla="*/ 1177925 w 2090570"/>
                <a:gd name="connsiteY330" fmla="*/ 1460500 h 1829497"/>
                <a:gd name="connsiteX331" fmla="*/ 1168400 w 2090570"/>
                <a:gd name="connsiteY331" fmla="*/ 1441450 h 1829497"/>
                <a:gd name="connsiteX332" fmla="*/ 1158875 w 2090570"/>
                <a:gd name="connsiteY332" fmla="*/ 1435100 h 1829497"/>
                <a:gd name="connsiteX333" fmla="*/ 1149350 w 2090570"/>
                <a:gd name="connsiteY333" fmla="*/ 1431925 h 1829497"/>
                <a:gd name="connsiteX334" fmla="*/ 1127125 w 2090570"/>
                <a:gd name="connsiteY334" fmla="*/ 1409700 h 1829497"/>
                <a:gd name="connsiteX335" fmla="*/ 1130300 w 2090570"/>
                <a:gd name="connsiteY335" fmla="*/ 1390650 h 1829497"/>
                <a:gd name="connsiteX336" fmla="*/ 1111250 w 2090570"/>
                <a:gd name="connsiteY336" fmla="*/ 1384300 h 1829497"/>
                <a:gd name="connsiteX337" fmla="*/ 1082675 w 2090570"/>
                <a:gd name="connsiteY337" fmla="*/ 1362075 h 1829497"/>
                <a:gd name="connsiteX338" fmla="*/ 1073150 w 2090570"/>
                <a:gd name="connsiteY338" fmla="*/ 1343025 h 1829497"/>
                <a:gd name="connsiteX339" fmla="*/ 1066800 w 2090570"/>
                <a:gd name="connsiteY339" fmla="*/ 1333500 h 1829497"/>
                <a:gd name="connsiteX340" fmla="*/ 1066800 w 2090570"/>
                <a:gd name="connsiteY340" fmla="*/ 1285875 h 1829497"/>
                <a:gd name="connsiteX341" fmla="*/ 1073150 w 2090570"/>
                <a:gd name="connsiteY341" fmla="*/ 1266825 h 1829497"/>
                <a:gd name="connsiteX342" fmla="*/ 1069975 w 2090570"/>
                <a:gd name="connsiteY342" fmla="*/ 1250950 h 1829497"/>
                <a:gd name="connsiteX343" fmla="*/ 1054100 w 2090570"/>
                <a:gd name="connsiteY343" fmla="*/ 1235075 h 1829497"/>
                <a:gd name="connsiteX344" fmla="*/ 1031875 w 2090570"/>
                <a:gd name="connsiteY344" fmla="*/ 1231900 h 1829497"/>
                <a:gd name="connsiteX345" fmla="*/ 1003300 w 2090570"/>
                <a:gd name="connsiteY345" fmla="*/ 1225550 h 1829497"/>
                <a:gd name="connsiteX346" fmla="*/ 993775 w 2090570"/>
                <a:gd name="connsiteY346" fmla="*/ 1196975 h 1829497"/>
                <a:gd name="connsiteX347" fmla="*/ 1003300 w 2090570"/>
                <a:gd name="connsiteY347" fmla="*/ 1193800 h 1829497"/>
                <a:gd name="connsiteX348" fmla="*/ 1012825 w 2090570"/>
                <a:gd name="connsiteY348" fmla="*/ 1152525 h 1829497"/>
                <a:gd name="connsiteX349" fmla="*/ 1006475 w 2090570"/>
                <a:gd name="connsiteY349" fmla="*/ 1143000 h 1829497"/>
                <a:gd name="connsiteX350" fmla="*/ 987425 w 2090570"/>
                <a:gd name="connsiteY350" fmla="*/ 1136650 h 1829497"/>
                <a:gd name="connsiteX351" fmla="*/ 987425 w 2090570"/>
                <a:gd name="connsiteY351" fmla="*/ 1114425 h 1829497"/>
                <a:gd name="connsiteX352" fmla="*/ 990600 w 2090570"/>
                <a:gd name="connsiteY352" fmla="*/ 1104900 h 1829497"/>
                <a:gd name="connsiteX353" fmla="*/ 1000125 w 2090570"/>
                <a:gd name="connsiteY353" fmla="*/ 1098550 h 1829497"/>
                <a:gd name="connsiteX354" fmla="*/ 1025525 w 2090570"/>
                <a:gd name="connsiteY354" fmla="*/ 1076325 h 1829497"/>
                <a:gd name="connsiteX355" fmla="*/ 1041400 w 2090570"/>
                <a:gd name="connsiteY355" fmla="*/ 1057275 h 1829497"/>
                <a:gd name="connsiteX356" fmla="*/ 1041400 w 2090570"/>
                <a:gd name="connsiteY356" fmla="*/ 987425 h 1829497"/>
                <a:gd name="connsiteX357" fmla="*/ 1031875 w 2090570"/>
                <a:gd name="connsiteY357" fmla="*/ 977900 h 1829497"/>
                <a:gd name="connsiteX358" fmla="*/ 1012825 w 2090570"/>
                <a:gd name="connsiteY358" fmla="*/ 981075 h 1829497"/>
                <a:gd name="connsiteX359" fmla="*/ 996950 w 2090570"/>
                <a:gd name="connsiteY359" fmla="*/ 996950 h 1829497"/>
                <a:gd name="connsiteX360" fmla="*/ 977900 w 2090570"/>
                <a:gd name="connsiteY360" fmla="*/ 1016000 h 1829497"/>
                <a:gd name="connsiteX361" fmla="*/ 949325 w 2090570"/>
                <a:gd name="connsiteY361" fmla="*/ 1035050 h 1829497"/>
                <a:gd name="connsiteX362" fmla="*/ 930275 w 2090570"/>
                <a:gd name="connsiteY362" fmla="*/ 1041400 h 1829497"/>
                <a:gd name="connsiteX363" fmla="*/ 920750 w 2090570"/>
                <a:gd name="connsiteY363" fmla="*/ 1047750 h 1829497"/>
                <a:gd name="connsiteX364" fmla="*/ 895350 w 2090570"/>
                <a:gd name="connsiteY364" fmla="*/ 1054100 h 1829497"/>
                <a:gd name="connsiteX365" fmla="*/ 885825 w 2090570"/>
                <a:gd name="connsiteY365" fmla="*/ 1050925 h 1829497"/>
                <a:gd name="connsiteX366" fmla="*/ 879475 w 2090570"/>
                <a:gd name="connsiteY366" fmla="*/ 1041400 h 1829497"/>
                <a:gd name="connsiteX367" fmla="*/ 873125 w 2090570"/>
                <a:gd name="connsiteY367" fmla="*/ 977900 h 1829497"/>
                <a:gd name="connsiteX368" fmla="*/ 866775 w 2090570"/>
                <a:gd name="connsiteY368" fmla="*/ 955675 h 1829497"/>
                <a:gd name="connsiteX369" fmla="*/ 857250 w 2090570"/>
                <a:gd name="connsiteY369" fmla="*/ 952500 h 1829497"/>
                <a:gd name="connsiteX370" fmla="*/ 831850 w 2090570"/>
                <a:gd name="connsiteY370" fmla="*/ 955675 h 1829497"/>
                <a:gd name="connsiteX371" fmla="*/ 812800 w 2090570"/>
                <a:gd name="connsiteY371" fmla="*/ 965200 h 1829497"/>
                <a:gd name="connsiteX372" fmla="*/ 803275 w 2090570"/>
                <a:gd name="connsiteY372" fmla="*/ 968375 h 1829497"/>
                <a:gd name="connsiteX373" fmla="*/ 784225 w 2090570"/>
                <a:gd name="connsiteY373" fmla="*/ 958850 h 1829497"/>
                <a:gd name="connsiteX374" fmla="*/ 765175 w 2090570"/>
                <a:gd name="connsiteY374" fmla="*/ 962025 h 1829497"/>
                <a:gd name="connsiteX375" fmla="*/ 755650 w 2090570"/>
                <a:gd name="connsiteY375" fmla="*/ 990600 h 1829497"/>
                <a:gd name="connsiteX376" fmla="*/ 752475 w 2090570"/>
                <a:gd name="connsiteY376" fmla="*/ 1000125 h 1829497"/>
                <a:gd name="connsiteX377" fmla="*/ 742950 w 2090570"/>
                <a:gd name="connsiteY377" fmla="*/ 1003300 h 1829497"/>
                <a:gd name="connsiteX378" fmla="*/ 733425 w 2090570"/>
                <a:gd name="connsiteY378" fmla="*/ 1009650 h 1829497"/>
                <a:gd name="connsiteX379" fmla="*/ 695325 w 2090570"/>
                <a:gd name="connsiteY379" fmla="*/ 1003300 h 1829497"/>
                <a:gd name="connsiteX380" fmla="*/ 688975 w 2090570"/>
                <a:gd name="connsiteY380" fmla="*/ 1012825 h 1829497"/>
                <a:gd name="connsiteX381" fmla="*/ 692150 w 2090570"/>
                <a:gd name="connsiteY381" fmla="*/ 1022350 h 1829497"/>
                <a:gd name="connsiteX382" fmla="*/ 711200 w 2090570"/>
                <a:gd name="connsiteY382" fmla="*/ 1035050 h 1829497"/>
                <a:gd name="connsiteX383" fmla="*/ 730250 w 2090570"/>
                <a:gd name="connsiteY383" fmla="*/ 1044575 h 1829497"/>
                <a:gd name="connsiteX384" fmla="*/ 752475 w 2090570"/>
                <a:gd name="connsiteY384" fmla="*/ 1073150 h 1829497"/>
                <a:gd name="connsiteX385" fmla="*/ 755650 w 2090570"/>
                <a:gd name="connsiteY385" fmla="*/ 1082675 h 1829497"/>
                <a:gd name="connsiteX386" fmla="*/ 758825 w 2090570"/>
                <a:gd name="connsiteY386" fmla="*/ 1101725 h 1829497"/>
                <a:gd name="connsiteX387" fmla="*/ 762000 w 2090570"/>
                <a:gd name="connsiteY387" fmla="*/ 1114425 h 1829497"/>
                <a:gd name="connsiteX388" fmla="*/ 752475 w 2090570"/>
                <a:gd name="connsiteY388" fmla="*/ 1149350 h 1829497"/>
                <a:gd name="connsiteX389" fmla="*/ 746125 w 2090570"/>
                <a:gd name="connsiteY389" fmla="*/ 1158875 h 1829497"/>
                <a:gd name="connsiteX390" fmla="*/ 746125 w 2090570"/>
                <a:gd name="connsiteY390" fmla="*/ 1187450 h 1829497"/>
                <a:gd name="connsiteX391" fmla="*/ 755650 w 2090570"/>
                <a:gd name="connsiteY391" fmla="*/ 1193800 h 1829497"/>
                <a:gd name="connsiteX392" fmla="*/ 758825 w 2090570"/>
                <a:gd name="connsiteY392" fmla="*/ 1203325 h 1829497"/>
                <a:gd name="connsiteX393" fmla="*/ 749300 w 2090570"/>
                <a:gd name="connsiteY393" fmla="*/ 1225550 h 1829497"/>
                <a:gd name="connsiteX394" fmla="*/ 739775 w 2090570"/>
                <a:gd name="connsiteY394" fmla="*/ 1231900 h 1829497"/>
                <a:gd name="connsiteX395" fmla="*/ 733425 w 2090570"/>
                <a:gd name="connsiteY395" fmla="*/ 1241425 h 1829497"/>
                <a:gd name="connsiteX396" fmla="*/ 723900 w 2090570"/>
                <a:gd name="connsiteY396" fmla="*/ 1238250 h 1829497"/>
                <a:gd name="connsiteX397" fmla="*/ 704850 w 2090570"/>
                <a:gd name="connsiteY397" fmla="*/ 1225550 h 1829497"/>
                <a:gd name="connsiteX398" fmla="*/ 663575 w 2090570"/>
                <a:gd name="connsiteY398" fmla="*/ 1228725 h 1829497"/>
                <a:gd name="connsiteX399" fmla="*/ 644525 w 2090570"/>
                <a:gd name="connsiteY399" fmla="*/ 1235075 h 1829497"/>
                <a:gd name="connsiteX400" fmla="*/ 635000 w 2090570"/>
                <a:gd name="connsiteY400" fmla="*/ 1244600 h 1829497"/>
                <a:gd name="connsiteX401" fmla="*/ 625475 w 2090570"/>
                <a:gd name="connsiteY401" fmla="*/ 1250950 h 1829497"/>
                <a:gd name="connsiteX402" fmla="*/ 609600 w 2090570"/>
                <a:gd name="connsiteY402" fmla="*/ 1263650 h 1829497"/>
                <a:gd name="connsiteX403" fmla="*/ 600075 w 2090570"/>
                <a:gd name="connsiteY403" fmla="*/ 1270000 h 1829497"/>
                <a:gd name="connsiteX404" fmla="*/ 568325 w 2090570"/>
                <a:gd name="connsiteY404" fmla="*/ 1270000 h 1829497"/>
                <a:gd name="connsiteX405" fmla="*/ 546100 w 2090570"/>
                <a:gd name="connsiteY405" fmla="*/ 1276350 h 1829497"/>
                <a:gd name="connsiteX406" fmla="*/ 539750 w 2090570"/>
                <a:gd name="connsiteY406" fmla="*/ 1285875 h 1829497"/>
                <a:gd name="connsiteX407" fmla="*/ 517525 w 2090570"/>
                <a:gd name="connsiteY407" fmla="*/ 1276350 h 1829497"/>
                <a:gd name="connsiteX408" fmla="*/ 511175 w 2090570"/>
                <a:gd name="connsiteY408" fmla="*/ 1266825 h 1829497"/>
                <a:gd name="connsiteX409" fmla="*/ 523875 w 2090570"/>
                <a:gd name="connsiteY409" fmla="*/ 1244600 h 1829497"/>
                <a:gd name="connsiteX410" fmla="*/ 542925 w 2090570"/>
                <a:gd name="connsiteY410" fmla="*/ 1231900 h 1829497"/>
                <a:gd name="connsiteX411" fmla="*/ 549275 w 2090570"/>
                <a:gd name="connsiteY411" fmla="*/ 1222375 h 1829497"/>
                <a:gd name="connsiteX412" fmla="*/ 546100 w 2090570"/>
                <a:gd name="connsiteY412" fmla="*/ 1212850 h 1829497"/>
                <a:gd name="connsiteX413" fmla="*/ 542925 w 2090570"/>
                <a:gd name="connsiteY413" fmla="*/ 1200150 h 1829497"/>
                <a:gd name="connsiteX414" fmla="*/ 527050 w 2090570"/>
                <a:gd name="connsiteY414" fmla="*/ 1171575 h 1829497"/>
                <a:gd name="connsiteX415" fmla="*/ 533400 w 2090570"/>
                <a:gd name="connsiteY415" fmla="*/ 1123950 h 1829497"/>
                <a:gd name="connsiteX416" fmla="*/ 536575 w 2090570"/>
                <a:gd name="connsiteY416" fmla="*/ 1108075 h 1829497"/>
                <a:gd name="connsiteX417" fmla="*/ 546100 w 2090570"/>
                <a:gd name="connsiteY417" fmla="*/ 1098550 h 1829497"/>
                <a:gd name="connsiteX418" fmla="*/ 539750 w 2090570"/>
                <a:gd name="connsiteY418" fmla="*/ 1066800 h 1829497"/>
                <a:gd name="connsiteX419" fmla="*/ 536575 w 2090570"/>
                <a:gd name="connsiteY419" fmla="*/ 1057275 h 1829497"/>
                <a:gd name="connsiteX420" fmla="*/ 527050 w 2090570"/>
                <a:gd name="connsiteY420" fmla="*/ 1054100 h 1829497"/>
                <a:gd name="connsiteX421" fmla="*/ 495300 w 2090570"/>
                <a:gd name="connsiteY421" fmla="*/ 1050925 h 1829497"/>
                <a:gd name="connsiteX422" fmla="*/ 463550 w 2090570"/>
                <a:gd name="connsiteY422" fmla="*/ 1044575 h 1829497"/>
                <a:gd name="connsiteX423" fmla="*/ 454025 w 2090570"/>
                <a:gd name="connsiteY423" fmla="*/ 1038225 h 1829497"/>
                <a:gd name="connsiteX424" fmla="*/ 441325 w 2090570"/>
                <a:gd name="connsiteY424" fmla="*/ 1019175 h 1829497"/>
                <a:gd name="connsiteX425" fmla="*/ 428625 w 2090570"/>
                <a:gd name="connsiteY425" fmla="*/ 1000125 h 1829497"/>
                <a:gd name="connsiteX426" fmla="*/ 419100 w 2090570"/>
                <a:gd name="connsiteY426" fmla="*/ 990600 h 1829497"/>
                <a:gd name="connsiteX427" fmla="*/ 409575 w 2090570"/>
                <a:gd name="connsiteY427" fmla="*/ 984250 h 1829497"/>
                <a:gd name="connsiteX428" fmla="*/ 387350 w 2090570"/>
                <a:gd name="connsiteY428" fmla="*/ 977900 h 1829497"/>
                <a:gd name="connsiteX429" fmla="*/ 377825 w 2090570"/>
                <a:gd name="connsiteY429" fmla="*/ 974725 h 1829497"/>
                <a:gd name="connsiteX430" fmla="*/ 381000 w 2090570"/>
                <a:gd name="connsiteY430" fmla="*/ 1012825 h 1829497"/>
                <a:gd name="connsiteX431" fmla="*/ 381000 w 2090570"/>
                <a:gd name="connsiteY431" fmla="*/ 1035050 h 1829497"/>
                <a:gd name="connsiteX432" fmla="*/ 368300 w 2090570"/>
                <a:gd name="connsiteY432" fmla="*/ 1054100 h 1829497"/>
                <a:gd name="connsiteX433" fmla="*/ 355600 w 2090570"/>
                <a:gd name="connsiteY433" fmla="*/ 1063625 h 1829497"/>
                <a:gd name="connsiteX434" fmla="*/ 327025 w 2090570"/>
                <a:gd name="connsiteY434" fmla="*/ 1073150 h 1829497"/>
                <a:gd name="connsiteX435" fmla="*/ 317500 w 2090570"/>
                <a:gd name="connsiteY435" fmla="*/ 1076325 h 1829497"/>
                <a:gd name="connsiteX436" fmla="*/ 307975 w 2090570"/>
                <a:gd name="connsiteY436" fmla="*/ 1079500 h 1829497"/>
                <a:gd name="connsiteX437" fmla="*/ 298450 w 2090570"/>
                <a:gd name="connsiteY437" fmla="*/ 1085850 h 1829497"/>
                <a:gd name="connsiteX438" fmla="*/ 279400 w 2090570"/>
                <a:gd name="connsiteY438" fmla="*/ 1092200 h 1829497"/>
                <a:gd name="connsiteX439" fmla="*/ 269875 w 2090570"/>
                <a:gd name="connsiteY439" fmla="*/ 1098550 h 1829497"/>
                <a:gd name="connsiteX440" fmla="*/ 250825 w 2090570"/>
                <a:gd name="connsiteY440" fmla="*/ 1114425 h 1829497"/>
                <a:gd name="connsiteX441" fmla="*/ 215900 w 2090570"/>
                <a:gd name="connsiteY441" fmla="*/ 1123950 h 1829497"/>
                <a:gd name="connsiteX442" fmla="*/ 146050 w 2090570"/>
                <a:gd name="connsiteY442" fmla="*/ 1111250 h 1829497"/>
                <a:gd name="connsiteX443" fmla="*/ 152400 w 2090570"/>
                <a:gd name="connsiteY443" fmla="*/ 1123950 h 182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2090570" h="1829497">
                  <a:moveTo>
                    <a:pt x="152400" y="1123950"/>
                  </a:moveTo>
                  <a:cubicBezTo>
                    <a:pt x="150283" y="1115483"/>
                    <a:pt x="148810" y="1106829"/>
                    <a:pt x="146050" y="1098550"/>
                  </a:cubicBezTo>
                  <a:lnTo>
                    <a:pt x="139700" y="1079500"/>
                  </a:lnTo>
                  <a:cubicBezTo>
                    <a:pt x="140758" y="1076325"/>
                    <a:pt x="140508" y="1072342"/>
                    <a:pt x="142875" y="1069975"/>
                  </a:cubicBezTo>
                  <a:cubicBezTo>
                    <a:pt x="145242" y="1067608"/>
                    <a:pt x="150455" y="1069523"/>
                    <a:pt x="152400" y="1066800"/>
                  </a:cubicBezTo>
                  <a:cubicBezTo>
                    <a:pt x="156291" y="1061353"/>
                    <a:pt x="158750" y="1047750"/>
                    <a:pt x="158750" y="1047750"/>
                  </a:cubicBezTo>
                  <a:cubicBezTo>
                    <a:pt x="156937" y="1038686"/>
                    <a:pt x="155090" y="1028143"/>
                    <a:pt x="152400" y="1019175"/>
                  </a:cubicBezTo>
                  <a:cubicBezTo>
                    <a:pt x="150477" y="1012764"/>
                    <a:pt x="148167" y="1006475"/>
                    <a:pt x="146050" y="1000125"/>
                  </a:cubicBezTo>
                  <a:cubicBezTo>
                    <a:pt x="143958" y="993850"/>
                    <a:pt x="142120" y="985551"/>
                    <a:pt x="136525" y="981075"/>
                  </a:cubicBezTo>
                  <a:cubicBezTo>
                    <a:pt x="133912" y="978984"/>
                    <a:pt x="130175" y="978958"/>
                    <a:pt x="127000" y="977900"/>
                  </a:cubicBezTo>
                  <a:cubicBezTo>
                    <a:pt x="96027" y="985643"/>
                    <a:pt x="134702" y="976188"/>
                    <a:pt x="98425" y="984250"/>
                  </a:cubicBezTo>
                  <a:cubicBezTo>
                    <a:pt x="94165" y="985197"/>
                    <a:pt x="89958" y="986367"/>
                    <a:pt x="85725" y="987425"/>
                  </a:cubicBezTo>
                  <a:cubicBezTo>
                    <a:pt x="82550" y="986367"/>
                    <a:pt x="79126" y="985875"/>
                    <a:pt x="76200" y="984250"/>
                  </a:cubicBezTo>
                  <a:cubicBezTo>
                    <a:pt x="69529" y="980544"/>
                    <a:pt x="64554" y="973401"/>
                    <a:pt x="57150" y="971550"/>
                  </a:cubicBezTo>
                  <a:cubicBezTo>
                    <a:pt x="35153" y="966051"/>
                    <a:pt x="48787" y="968857"/>
                    <a:pt x="15875" y="965200"/>
                  </a:cubicBezTo>
                  <a:cubicBezTo>
                    <a:pt x="12700" y="963083"/>
                    <a:pt x="8372" y="962086"/>
                    <a:pt x="6350" y="958850"/>
                  </a:cubicBezTo>
                  <a:cubicBezTo>
                    <a:pt x="2802" y="953174"/>
                    <a:pt x="0" y="939800"/>
                    <a:pt x="0" y="939800"/>
                  </a:cubicBezTo>
                  <a:cubicBezTo>
                    <a:pt x="2117" y="936625"/>
                    <a:pt x="3652" y="932973"/>
                    <a:pt x="6350" y="930275"/>
                  </a:cubicBezTo>
                  <a:cubicBezTo>
                    <a:pt x="9048" y="927577"/>
                    <a:pt x="13491" y="926905"/>
                    <a:pt x="15875" y="923925"/>
                  </a:cubicBezTo>
                  <a:cubicBezTo>
                    <a:pt x="17966" y="921312"/>
                    <a:pt x="17992" y="917575"/>
                    <a:pt x="19050" y="914400"/>
                  </a:cubicBezTo>
                  <a:cubicBezTo>
                    <a:pt x="11437" y="891562"/>
                    <a:pt x="20673" y="920082"/>
                    <a:pt x="12700" y="892175"/>
                  </a:cubicBezTo>
                  <a:cubicBezTo>
                    <a:pt x="11781" y="888957"/>
                    <a:pt x="10406" y="885879"/>
                    <a:pt x="9525" y="882650"/>
                  </a:cubicBezTo>
                  <a:cubicBezTo>
                    <a:pt x="7229" y="874230"/>
                    <a:pt x="3175" y="857250"/>
                    <a:pt x="3175" y="857250"/>
                  </a:cubicBezTo>
                  <a:cubicBezTo>
                    <a:pt x="5082" y="849624"/>
                    <a:pt x="5848" y="840507"/>
                    <a:pt x="12700" y="835025"/>
                  </a:cubicBezTo>
                  <a:cubicBezTo>
                    <a:pt x="15313" y="832934"/>
                    <a:pt x="19050" y="832908"/>
                    <a:pt x="22225" y="831850"/>
                  </a:cubicBezTo>
                  <a:cubicBezTo>
                    <a:pt x="25400" y="829733"/>
                    <a:pt x="27943" y="825754"/>
                    <a:pt x="31750" y="825500"/>
                  </a:cubicBezTo>
                  <a:cubicBezTo>
                    <a:pt x="47499" y="824450"/>
                    <a:pt x="69095" y="828155"/>
                    <a:pt x="85725" y="831850"/>
                  </a:cubicBezTo>
                  <a:cubicBezTo>
                    <a:pt x="89985" y="832797"/>
                    <a:pt x="94132" y="834244"/>
                    <a:pt x="98425" y="835025"/>
                  </a:cubicBezTo>
                  <a:cubicBezTo>
                    <a:pt x="105788" y="836364"/>
                    <a:pt x="113242" y="837142"/>
                    <a:pt x="120650" y="838200"/>
                  </a:cubicBezTo>
                  <a:cubicBezTo>
                    <a:pt x="134907" y="836904"/>
                    <a:pt x="158750" y="845490"/>
                    <a:pt x="158750" y="825500"/>
                  </a:cubicBezTo>
                  <a:cubicBezTo>
                    <a:pt x="158750" y="822153"/>
                    <a:pt x="156633" y="819150"/>
                    <a:pt x="155575" y="815975"/>
                  </a:cubicBezTo>
                  <a:cubicBezTo>
                    <a:pt x="156633" y="811742"/>
                    <a:pt x="157496" y="807455"/>
                    <a:pt x="158750" y="803275"/>
                  </a:cubicBezTo>
                  <a:cubicBezTo>
                    <a:pt x="161635" y="793658"/>
                    <a:pt x="165100" y="784225"/>
                    <a:pt x="168275" y="774700"/>
                  </a:cubicBezTo>
                  <a:lnTo>
                    <a:pt x="171450" y="765175"/>
                  </a:lnTo>
                  <a:lnTo>
                    <a:pt x="174625" y="755650"/>
                  </a:lnTo>
                  <a:cubicBezTo>
                    <a:pt x="175099" y="750438"/>
                    <a:pt x="176121" y="719352"/>
                    <a:pt x="180975" y="708025"/>
                  </a:cubicBezTo>
                  <a:cubicBezTo>
                    <a:pt x="182478" y="704518"/>
                    <a:pt x="185618" y="701913"/>
                    <a:pt x="187325" y="698500"/>
                  </a:cubicBezTo>
                  <a:cubicBezTo>
                    <a:pt x="188822" y="695507"/>
                    <a:pt x="188644" y="691760"/>
                    <a:pt x="190500" y="688975"/>
                  </a:cubicBezTo>
                  <a:cubicBezTo>
                    <a:pt x="192991" y="685239"/>
                    <a:pt x="197268" y="682994"/>
                    <a:pt x="200025" y="679450"/>
                  </a:cubicBezTo>
                  <a:lnTo>
                    <a:pt x="219075" y="650875"/>
                  </a:lnTo>
                  <a:lnTo>
                    <a:pt x="225425" y="641350"/>
                  </a:lnTo>
                  <a:cubicBezTo>
                    <a:pt x="226483" y="636058"/>
                    <a:pt x="227180" y="630681"/>
                    <a:pt x="228600" y="625475"/>
                  </a:cubicBezTo>
                  <a:cubicBezTo>
                    <a:pt x="230361" y="619017"/>
                    <a:pt x="234950" y="606425"/>
                    <a:pt x="234950" y="606425"/>
                  </a:cubicBezTo>
                  <a:cubicBezTo>
                    <a:pt x="233892" y="586317"/>
                    <a:pt x="231775" y="566236"/>
                    <a:pt x="231775" y="546100"/>
                  </a:cubicBezTo>
                  <a:cubicBezTo>
                    <a:pt x="231775" y="534497"/>
                    <a:pt x="236719" y="507952"/>
                    <a:pt x="238125" y="495300"/>
                  </a:cubicBezTo>
                  <a:cubicBezTo>
                    <a:pt x="239416" y="483682"/>
                    <a:pt x="240009" y="471993"/>
                    <a:pt x="241300" y="460375"/>
                  </a:cubicBezTo>
                  <a:cubicBezTo>
                    <a:pt x="242375" y="450698"/>
                    <a:pt x="245072" y="432588"/>
                    <a:pt x="247650" y="422275"/>
                  </a:cubicBezTo>
                  <a:cubicBezTo>
                    <a:pt x="248462" y="419028"/>
                    <a:pt x="248969" y="415535"/>
                    <a:pt x="250825" y="412750"/>
                  </a:cubicBezTo>
                  <a:cubicBezTo>
                    <a:pt x="253316" y="409014"/>
                    <a:pt x="257475" y="406674"/>
                    <a:pt x="260350" y="403225"/>
                  </a:cubicBezTo>
                  <a:cubicBezTo>
                    <a:pt x="262793" y="400294"/>
                    <a:pt x="264583" y="396875"/>
                    <a:pt x="266700" y="393700"/>
                  </a:cubicBezTo>
                  <a:cubicBezTo>
                    <a:pt x="267758" y="389467"/>
                    <a:pt x="271074" y="385196"/>
                    <a:pt x="269875" y="381000"/>
                  </a:cubicBezTo>
                  <a:cubicBezTo>
                    <a:pt x="268641" y="376683"/>
                    <a:pt x="264275" y="373656"/>
                    <a:pt x="260350" y="371475"/>
                  </a:cubicBezTo>
                  <a:cubicBezTo>
                    <a:pt x="249384" y="365383"/>
                    <a:pt x="230951" y="363138"/>
                    <a:pt x="219075" y="361950"/>
                  </a:cubicBezTo>
                  <a:cubicBezTo>
                    <a:pt x="205345" y="360577"/>
                    <a:pt x="191558" y="359833"/>
                    <a:pt x="177800" y="358775"/>
                  </a:cubicBezTo>
                  <a:cubicBezTo>
                    <a:pt x="173567" y="357717"/>
                    <a:pt x="167051" y="359503"/>
                    <a:pt x="165100" y="355600"/>
                  </a:cubicBezTo>
                  <a:cubicBezTo>
                    <a:pt x="162687" y="350773"/>
                    <a:pt x="168275" y="345121"/>
                    <a:pt x="168275" y="339725"/>
                  </a:cubicBezTo>
                  <a:cubicBezTo>
                    <a:pt x="168275" y="335361"/>
                    <a:pt x="166158" y="331258"/>
                    <a:pt x="165100" y="327025"/>
                  </a:cubicBezTo>
                  <a:cubicBezTo>
                    <a:pt x="168203" y="280486"/>
                    <a:pt x="166645" y="290039"/>
                    <a:pt x="171450" y="254000"/>
                  </a:cubicBezTo>
                  <a:cubicBezTo>
                    <a:pt x="172439" y="246582"/>
                    <a:pt x="171586" y="238614"/>
                    <a:pt x="174625" y="231775"/>
                  </a:cubicBezTo>
                  <a:cubicBezTo>
                    <a:pt x="176766" y="226958"/>
                    <a:pt x="189449" y="223659"/>
                    <a:pt x="193675" y="222250"/>
                  </a:cubicBezTo>
                  <a:cubicBezTo>
                    <a:pt x="216345" y="229807"/>
                    <a:pt x="209012" y="223031"/>
                    <a:pt x="219075" y="238125"/>
                  </a:cubicBezTo>
                  <a:cubicBezTo>
                    <a:pt x="222250" y="237067"/>
                    <a:pt x="227357" y="238057"/>
                    <a:pt x="228600" y="234950"/>
                  </a:cubicBezTo>
                  <a:cubicBezTo>
                    <a:pt x="230221" y="230898"/>
                    <a:pt x="227846" y="225881"/>
                    <a:pt x="225425" y="222250"/>
                  </a:cubicBezTo>
                  <a:cubicBezTo>
                    <a:pt x="221908" y="216974"/>
                    <a:pt x="211808" y="214536"/>
                    <a:pt x="206375" y="212725"/>
                  </a:cubicBezTo>
                  <a:cubicBezTo>
                    <a:pt x="204258" y="209550"/>
                    <a:pt x="200565" y="206978"/>
                    <a:pt x="200025" y="203200"/>
                  </a:cubicBezTo>
                  <a:cubicBezTo>
                    <a:pt x="199408" y="198880"/>
                    <a:pt x="201946" y="194680"/>
                    <a:pt x="203200" y="190500"/>
                  </a:cubicBezTo>
                  <a:cubicBezTo>
                    <a:pt x="208310" y="173466"/>
                    <a:pt x="205375" y="171950"/>
                    <a:pt x="219075" y="165100"/>
                  </a:cubicBezTo>
                  <a:cubicBezTo>
                    <a:pt x="222068" y="163603"/>
                    <a:pt x="225425" y="162983"/>
                    <a:pt x="228600" y="161925"/>
                  </a:cubicBezTo>
                  <a:lnTo>
                    <a:pt x="257175" y="142875"/>
                  </a:lnTo>
                  <a:cubicBezTo>
                    <a:pt x="260350" y="140758"/>
                    <a:pt x="263080" y="137732"/>
                    <a:pt x="266700" y="136525"/>
                  </a:cubicBezTo>
                  <a:lnTo>
                    <a:pt x="304800" y="123825"/>
                  </a:lnTo>
                  <a:cubicBezTo>
                    <a:pt x="307975" y="122767"/>
                    <a:pt x="310988" y="120907"/>
                    <a:pt x="314325" y="120650"/>
                  </a:cubicBezTo>
                  <a:lnTo>
                    <a:pt x="355600" y="117475"/>
                  </a:lnTo>
                  <a:cubicBezTo>
                    <a:pt x="362917" y="118694"/>
                    <a:pt x="376359" y="119917"/>
                    <a:pt x="384175" y="123825"/>
                  </a:cubicBezTo>
                  <a:cubicBezTo>
                    <a:pt x="408794" y="136135"/>
                    <a:pt x="379284" y="125370"/>
                    <a:pt x="403225" y="133350"/>
                  </a:cubicBezTo>
                  <a:cubicBezTo>
                    <a:pt x="425664" y="128862"/>
                    <a:pt x="413980" y="131882"/>
                    <a:pt x="438150" y="123825"/>
                  </a:cubicBezTo>
                  <a:lnTo>
                    <a:pt x="438150" y="123825"/>
                  </a:lnTo>
                  <a:cubicBezTo>
                    <a:pt x="442383" y="122767"/>
                    <a:pt x="446670" y="121904"/>
                    <a:pt x="450850" y="120650"/>
                  </a:cubicBezTo>
                  <a:cubicBezTo>
                    <a:pt x="457261" y="118727"/>
                    <a:pt x="463550" y="116417"/>
                    <a:pt x="469900" y="114300"/>
                  </a:cubicBezTo>
                  <a:cubicBezTo>
                    <a:pt x="473075" y="113242"/>
                    <a:pt x="476104" y="111540"/>
                    <a:pt x="479425" y="111125"/>
                  </a:cubicBezTo>
                  <a:cubicBezTo>
                    <a:pt x="511213" y="107152"/>
                    <a:pt x="496409" y="109353"/>
                    <a:pt x="523875" y="104775"/>
                  </a:cubicBezTo>
                  <a:cubicBezTo>
                    <a:pt x="539750" y="105833"/>
                    <a:pt x="555750" y="105700"/>
                    <a:pt x="571500" y="107950"/>
                  </a:cubicBezTo>
                  <a:cubicBezTo>
                    <a:pt x="578126" y="108897"/>
                    <a:pt x="590550" y="114300"/>
                    <a:pt x="590550" y="114300"/>
                  </a:cubicBezTo>
                  <a:cubicBezTo>
                    <a:pt x="593725" y="116417"/>
                    <a:pt x="598053" y="117414"/>
                    <a:pt x="600075" y="120650"/>
                  </a:cubicBezTo>
                  <a:cubicBezTo>
                    <a:pt x="603623" y="126326"/>
                    <a:pt x="604308" y="133350"/>
                    <a:pt x="606425" y="139700"/>
                  </a:cubicBezTo>
                  <a:lnTo>
                    <a:pt x="609600" y="149225"/>
                  </a:lnTo>
                  <a:cubicBezTo>
                    <a:pt x="610658" y="152400"/>
                    <a:pt x="610919" y="155965"/>
                    <a:pt x="612775" y="158750"/>
                  </a:cubicBezTo>
                  <a:cubicBezTo>
                    <a:pt x="621616" y="172011"/>
                    <a:pt x="616427" y="165577"/>
                    <a:pt x="628650" y="177800"/>
                  </a:cubicBezTo>
                  <a:cubicBezTo>
                    <a:pt x="639154" y="209312"/>
                    <a:pt x="621531" y="161175"/>
                    <a:pt x="641350" y="196850"/>
                  </a:cubicBezTo>
                  <a:cubicBezTo>
                    <a:pt x="644601" y="202701"/>
                    <a:pt x="647700" y="215900"/>
                    <a:pt x="647700" y="215900"/>
                  </a:cubicBezTo>
                  <a:cubicBezTo>
                    <a:pt x="644812" y="244776"/>
                    <a:pt x="651736" y="243228"/>
                    <a:pt x="635000" y="257175"/>
                  </a:cubicBezTo>
                  <a:cubicBezTo>
                    <a:pt x="632069" y="259618"/>
                    <a:pt x="628650" y="261408"/>
                    <a:pt x="625475" y="263525"/>
                  </a:cubicBezTo>
                  <a:cubicBezTo>
                    <a:pt x="624417" y="266700"/>
                    <a:pt x="622300" y="269703"/>
                    <a:pt x="622300" y="273050"/>
                  </a:cubicBezTo>
                  <a:cubicBezTo>
                    <a:pt x="622300" y="285280"/>
                    <a:pt x="625034" y="291806"/>
                    <a:pt x="635000" y="298450"/>
                  </a:cubicBezTo>
                  <a:cubicBezTo>
                    <a:pt x="637785" y="300306"/>
                    <a:pt x="641350" y="300567"/>
                    <a:pt x="644525" y="301625"/>
                  </a:cubicBezTo>
                  <a:cubicBezTo>
                    <a:pt x="646642" y="304800"/>
                    <a:pt x="649168" y="307737"/>
                    <a:pt x="650875" y="311150"/>
                  </a:cubicBezTo>
                  <a:cubicBezTo>
                    <a:pt x="656040" y="321479"/>
                    <a:pt x="651301" y="321101"/>
                    <a:pt x="660400" y="330200"/>
                  </a:cubicBezTo>
                  <a:cubicBezTo>
                    <a:pt x="663098" y="332898"/>
                    <a:pt x="666750" y="334433"/>
                    <a:pt x="669925" y="336550"/>
                  </a:cubicBezTo>
                  <a:cubicBezTo>
                    <a:pt x="673100" y="333375"/>
                    <a:pt x="676575" y="330474"/>
                    <a:pt x="679450" y="327025"/>
                  </a:cubicBezTo>
                  <a:cubicBezTo>
                    <a:pt x="681893" y="324094"/>
                    <a:pt x="682928" y="320013"/>
                    <a:pt x="685800" y="317500"/>
                  </a:cubicBezTo>
                  <a:cubicBezTo>
                    <a:pt x="691543" y="312474"/>
                    <a:pt x="704850" y="304800"/>
                    <a:pt x="704850" y="304800"/>
                  </a:cubicBezTo>
                  <a:cubicBezTo>
                    <a:pt x="716542" y="287262"/>
                    <a:pt x="713135" y="296739"/>
                    <a:pt x="708025" y="263525"/>
                  </a:cubicBezTo>
                  <a:cubicBezTo>
                    <a:pt x="707516" y="260217"/>
                    <a:pt x="707217" y="256367"/>
                    <a:pt x="704850" y="254000"/>
                  </a:cubicBezTo>
                  <a:cubicBezTo>
                    <a:pt x="702483" y="251633"/>
                    <a:pt x="698572" y="251637"/>
                    <a:pt x="695325" y="250825"/>
                  </a:cubicBezTo>
                  <a:cubicBezTo>
                    <a:pt x="690090" y="249516"/>
                    <a:pt x="684742" y="248708"/>
                    <a:pt x="679450" y="247650"/>
                  </a:cubicBezTo>
                  <a:cubicBezTo>
                    <a:pt x="678392" y="244475"/>
                    <a:pt x="676275" y="241472"/>
                    <a:pt x="676275" y="238125"/>
                  </a:cubicBezTo>
                  <a:cubicBezTo>
                    <a:pt x="676275" y="224978"/>
                    <a:pt x="676349" y="212651"/>
                    <a:pt x="685800" y="203200"/>
                  </a:cubicBezTo>
                  <a:cubicBezTo>
                    <a:pt x="688498" y="200502"/>
                    <a:pt x="691838" y="198400"/>
                    <a:pt x="695325" y="196850"/>
                  </a:cubicBezTo>
                  <a:cubicBezTo>
                    <a:pt x="701442" y="194132"/>
                    <a:pt x="714375" y="190500"/>
                    <a:pt x="714375" y="190500"/>
                  </a:cubicBezTo>
                  <a:cubicBezTo>
                    <a:pt x="730434" y="193712"/>
                    <a:pt x="729945" y="190561"/>
                    <a:pt x="739775" y="203200"/>
                  </a:cubicBezTo>
                  <a:cubicBezTo>
                    <a:pt x="744460" y="209224"/>
                    <a:pt x="745071" y="220399"/>
                    <a:pt x="752475" y="222250"/>
                  </a:cubicBezTo>
                  <a:lnTo>
                    <a:pt x="777875" y="228600"/>
                  </a:lnTo>
                  <a:cubicBezTo>
                    <a:pt x="787170" y="227051"/>
                    <a:pt x="799582" y="227660"/>
                    <a:pt x="806450" y="219075"/>
                  </a:cubicBezTo>
                  <a:cubicBezTo>
                    <a:pt x="808541" y="216462"/>
                    <a:pt x="808567" y="212725"/>
                    <a:pt x="809625" y="209550"/>
                  </a:cubicBezTo>
                  <a:lnTo>
                    <a:pt x="803275" y="184150"/>
                  </a:lnTo>
                  <a:cubicBezTo>
                    <a:pt x="800695" y="173831"/>
                    <a:pt x="801604" y="162929"/>
                    <a:pt x="800100" y="152400"/>
                  </a:cubicBezTo>
                  <a:cubicBezTo>
                    <a:pt x="799103" y="145423"/>
                    <a:pt x="796012" y="136960"/>
                    <a:pt x="793750" y="130175"/>
                  </a:cubicBezTo>
                  <a:cubicBezTo>
                    <a:pt x="794356" y="122297"/>
                    <a:pt x="793247" y="93082"/>
                    <a:pt x="800100" y="79375"/>
                  </a:cubicBezTo>
                  <a:cubicBezTo>
                    <a:pt x="801807" y="75962"/>
                    <a:pt x="804007" y="72781"/>
                    <a:pt x="806450" y="69850"/>
                  </a:cubicBezTo>
                  <a:cubicBezTo>
                    <a:pt x="809325" y="66401"/>
                    <a:pt x="812800" y="63500"/>
                    <a:pt x="815975" y="60325"/>
                  </a:cubicBezTo>
                  <a:cubicBezTo>
                    <a:pt x="823256" y="38481"/>
                    <a:pt x="815145" y="64891"/>
                    <a:pt x="822325" y="25400"/>
                  </a:cubicBezTo>
                  <a:cubicBezTo>
                    <a:pt x="822924" y="22107"/>
                    <a:pt x="822777" y="17820"/>
                    <a:pt x="825500" y="15875"/>
                  </a:cubicBezTo>
                  <a:cubicBezTo>
                    <a:pt x="830947" y="11984"/>
                    <a:pt x="844550" y="9525"/>
                    <a:pt x="844550" y="9525"/>
                  </a:cubicBezTo>
                  <a:cubicBezTo>
                    <a:pt x="847725" y="7408"/>
                    <a:pt x="850568" y="4678"/>
                    <a:pt x="854075" y="3175"/>
                  </a:cubicBezTo>
                  <a:cubicBezTo>
                    <a:pt x="858086" y="1456"/>
                    <a:pt x="862411" y="0"/>
                    <a:pt x="866775" y="0"/>
                  </a:cubicBezTo>
                  <a:cubicBezTo>
                    <a:pt x="874438" y="0"/>
                    <a:pt x="884659" y="3845"/>
                    <a:pt x="892175" y="6350"/>
                  </a:cubicBezTo>
                  <a:cubicBezTo>
                    <a:pt x="895350" y="8467"/>
                    <a:pt x="898213" y="11150"/>
                    <a:pt x="901700" y="12700"/>
                  </a:cubicBezTo>
                  <a:cubicBezTo>
                    <a:pt x="907817" y="15418"/>
                    <a:pt x="920750" y="19050"/>
                    <a:pt x="920750" y="19050"/>
                  </a:cubicBezTo>
                  <a:cubicBezTo>
                    <a:pt x="923925" y="21167"/>
                    <a:pt x="926788" y="23850"/>
                    <a:pt x="930275" y="25400"/>
                  </a:cubicBezTo>
                  <a:cubicBezTo>
                    <a:pt x="936392" y="28118"/>
                    <a:pt x="949325" y="31750"/>
                    <a:pt x="949325" y="31750"/>
                  </a:cubicBezTo>
                  <a:cubicBezTo>
                    <a:pt x="954494" y="30889"/>
                    <a:pt x="971200" y="29122"/>
                    <a:pt x="977900" y="25400"/>
                  </a:cubicBezTo>
                  <a:cubicBezTo>
                    <a:pt x="984571" y="21694"/>
                    <a:pt x="990600" y="16933"/>
                    <a:pt x="996950" y="12700"/>
                  </a:cubicBezTo>
                  <a:cubicBezTo>
                    <a:pt x="1000125" y="10583"/>
                    <a:pt x="1002855" y="7557"/>
                    <a:pt x="1006475" y="6350"/>
                  </a:cubicBezTo>
                  <a:cubicBezTo>
                    <a:pt x="1020140" y="1795"/>
                    <a:pt x="1012753" y="3987"/>
                    <a:pt x="1028700" y="0"/>
                  </a:cubicBezTo>
                  <a:cubicBezTo>
                    <a:pt x="1050925" y="1058"/>
                    <a:pt x="1073196" y="1401"/>
                    <a:pt x="1095375" y="3175"/>
                  </a:cubicBezTo>
                  <a:cubicBezTo>
                    <a:pt x="1112488" y="4544"/>
                    <a:pt x="1109676" y="10325"/>
                    <a:pt x="1127125" y="19050"/>
                  </a:cubicBezTo>
                  <a:cubicBezTo>
                    <a:pt x="1150625" y="30800"/>
                    <a:pt x="1130042" y="18835"/>
                    <a:pt x="1149350" y="34925"/>
                  </a:cubicBezTo>
                  <a:cubicBezTo>
                    <a:pt x="1175872" y="57027"/>
                    <a:pt x="1140573" y="22973"/>
                    <a:pt x="1168400" y="50800"/>
                  </a:cubicBezTo>
                  <a:cubicBezTo>
                    <a:pt x="1176380" y="74741"/>
                    <a:pt x="1165615" y="45231"/>
                    <a:pt x="1177925" y="69850"/>
                  </a:cubicBezTo>
                  <a:cubicBezTo>
                    <a:pt x="1179422" y="72843"/>
                    <a:pt x="1179603" y="76382"/>
                    <a:pt x="1181100" y="79375"/>
                  </a:cubicBezTo>
                  <a:cubicBezTo>
                    <a:pt x="1182807" y="82788"/>
                    <a:pt x="1185743" y="85487"/>
                    <a:pt x="1187450" y="88900"/>
                  </a:cubicBezTo>
                  <a:cubicBezTo>
                    <a:pt x="1188947" y="91893"/>
                    <a:pt x="1189128" y="95432"/>
                    <a:pt x="1190625" y="98425"/>
                  </a:cubicBezTo>
                  <a:cubicBezTo>
                    <a:pt x="1192332" y="101838"/>
                    <a:pt x="1195268" y="104537"/>
                    <a:pt x="1196975" y="107950"/>
                  </a:cubicBezTo>
                  <a:cubicBezTo>
                    <a:pt x="1198472" y="110943"/>
                    <a:pt x="1198059" y="114862"/>
                    <a:pt x="1200150" y="117475"/>
                  </a:cubicBezTo>
                  <a:cubicBezTo>
                    <a:pt x="1202534" y="120455"/>
                    <a:pt x="1206500" y="121708"/>
                    <a:pt x="1209675" y="123825"/>
                  </a:cubicBezTo>
                  <a:cubicBezTo>
                    <a:pt x="1227873" y="151122"/>
                    <a:pt x="1206055" y="116585"/>
                    <a:pt x="1219200" y="142875"/>
                  </a:cubicBezTo>
                  <a:cubicBezTo>
                    <a:pt x="1228477" y="161428"/>
                    <a:pt x="1223405" y="143304"/>
                    <a:pt x="1228725" y="161925"/>
                  </a:cubicBezTo>
                  <a:cubicBezTo>
                    <a:pt x="1238322" y="195514"/>
                    <a:pt x="1223160" y="148404"/>
                    <a:pt x="1238250" y="193675"/>
                  </a:cubicBezTo>
                  <a:cubicBezTo>
                    <a:pt x="1239308" y="196850"/>
                    <a:pt x="1244600" y="195792"/>
                    <a:pt x="1247775" y="196850"/>
                  </a:cubicBezTo>
                  <a:cubicBezTo>
                    <a:pt x="1275072" y="215048"/>
                    <a:pt x="1240535" y="193230"/>
                    <a:pt x="1266825" y="206375"/>
                  </a:cubicBezTo>
                  <a:cubicBezTo>
                    <a:pt x="1291444" y="218685"/>
                    <a:pt x="1261934" y="207920"/>
                    <a:pt x="1285875" y="215900"/>
                  </a:cubicBezTo>
                  <a:cubicBezTo>
                    <a:pt x="1289050" y="218017"/>
                    <a:pt x="1291913" y="220700"/>
                    <a:pt x="1295400" y="222250"/>
                  </a:cubicBezTo>
                  <a:cubicBezTo>
                    <a:pt x="1301517" y="224968"/>
                    <a:pt x="1314450" y="228600"/>
                    <a:pt x="1314450" y="228600"/>
                  </a:cubicBezTo>
                  <a:cubicBezTo>
                    <a:pt x="1317625" y="230717"/>
                    <a:pt x="1321277" y="232252"/>
                    <a:pt x="1323975" y="234950"/>
                  </a:cubicBezTo>
                  <a:cubicBezTo>
                    <a:pt x="1326673" y="237648"/>
                    <a:pt x="1328775" y="240988"/>
                    <a:pt x="1330325" y="244475"/>
                  </a:cubicBezTo>
                  <a:cubicBezTo>
                    <a:pt x="1337262" y="260084"/>
                    <a:pt x="1336265" y="263863"/>
                    <a:pt x="1339850" y="279400"/>
                  </a:cubicBezTo>
                  <a:cubicBezTo>
                    <a:pt x="1341812" y="287904"/>
                    <a:pt x="1338938" y="299959"/>
                    <a:pt x="1346200" y="304800"/>
                  </a:cubicBezTo>
                  <a:cubicBezTo>
                    <a:pt x="1349375" y="306917"/>
                    <a:pt x="1352218" y="309647"/>
                    <a:pt x="1355725" y="311150"/>
                  </a:cubicBezTo>
                  <a:cubicBezTo>
                    <a:pt x="1360715" y="313288"/>
                    <a:pt x="1380156" y="316370"/>
                    <a:pt x="1384300" y="317500"/>
                  </a:cubicBezTo>
                  <a:cubicBezTo>
                    <a:pt x="1390758" y="319261"/>
                    <a:pt x="1403350" y="323850"/>
                    <a:pt x="1403350" y="323850"/>
                  </a:cubicBezTo>
                  <a:cubicBezTo>
                    <a:pt x="1422929" y="336903"/>
                    <a:pt x="1402292" y="327378"/>
                    <a:pt x="1431925" y="317500"/>
                  </a:cubicBezTo>
                  <a:lnTo>
                    <a:pt x="1450975" y="311150"/>
                  </a:lnTo>
                  <a:cubicBezTo>
                    <a:pt x="1460270" y="312699"/>
                    <a:pt x="1472682" y="312090"/>
                    <a:pt x="1479550" y="320675"/>
                  </a:cubicBezTo>
                  <a:cubicBezTo>
                    <a:pt x="1490472" y="334328"/>
                    <a:pt x="1472483" y="327765"/>
                    <a:pt x="1492250" y="336550"/>
                  </a:cubicBezTo>
                  <a:cubicBezTo>
                    <a:pt x="1498367" y="339268"/>
                    <a:pt x="1511300" y="342900"/>
                    <a:pt x="1511300" y="342900"/>
                  </a:cubicBezTo>
                  <a:cubicBezTo>
                    <a:pt x="1529843" y="336719"/>
                    <a:pt x="1512814" y="344561"/>
                    <a:pt x="1527175" y="330200"/>
                  </a:cubicBezTo>
                  <a:cubicBezTo>
                    <a:pt x="1533330" y="324045"/>
                    <a:pt x="1538478" y="323257"/>
                    <a:pt x="1546225" y="320675"/>
                  </a:cubicBezTo>
                  <a:cubicBezTo>
                    <a:pt x="1556808" y="321733"/>
                    <a:pt x="1567809" y="320722"/>
                    <a:pt x="1577975" y="323850"/>
                  </a:cubicBezTo>
                  <a:cubicBezTo>
                    <a:pt x="1582267" y="325170"/>
                    <a:pt x="1583956" y="330618"/>
                    <a:pt x="1587500" y="333375"/>
                  </a:cubicBezTo>
                  <a:cubicBezTo>
                    <a:pt x="1593524" y="338060"/>
                    <a:pt x="1600200" y="341842"/>
                    <a:pt x="1606550" y="346075"/>
                  </a:cubicBezTo>
                  <a:lnTo>
                    <a:pt x="1606550" y="346075"/>
                  </a:lnTo>
                  <a:lnTo>
                    <a:pt x="1631950" y="352425"/>
                  </a:lnTo>
                  <a:cubicBezTo>
                    <a:pt x="1638444" y="354048"/>
                    <a:pt x="1644650" y="356658"/>
                    <a:pt x="1651000" y="358775"/>
                  </a:cubicBezTo>
                  <a:cubicBezTo>
                    <a:pt x="1654175" y="359833"/>
                    <a:pt x="1657212" y="361477"/>
                    <a:pt x="1660525" y="361950"/>
                  </a:cubicBezTo>
                  <a:lnTo>
                    <a:pt x="1682750" y="365125"/>
                  </a:lnTo>
                  <a:cubicBezTo>
                    <a:pt x="1689100" y="367242"/>
                    <a:pt x="1695306" y="369852"/>
                    <a:pt x="1701800" y="371475"/>
                  </a:cubicBezTo>
                  <a:cubicBezTo>
                    <a:pt x="1717747" y="375462"/>
                    <a:pt x="1710360" y="373270"/>
                    <a:pt x="1724025" y="377825"/>
                  </a:cubicBezTo>
                  <a:cubicBezTo>
                    <a:pt x="1725083" y="381000"/>
                    <a:pt x="1725344" y="384565"/>
                    <a:pt x="1727200" y="387350"/>
                  </a:cubicBezTo>
                  <a:cubicBezTo>
                    <a:pt x="1729691" y="391086"/>
                    <a:pt x="1732826" y="394647"/>
                    <a:pt x="1736725" y="396875"/>
                  </a:cubicBezTo>
                  <a:cubicBezTo>
                    <a:pt x="1740514" y="399040"/>
                    <a:pt x="1745112" y="399386"/>
                    <a:pt x="1749425" y="400050"/>
                  </a:cubicBezTo>
                  <a:cubicBezTo>
                    <a:pt x="1758897" y="401507"/>
                    <a:pt x="1768475" y="402167"/>
                    <a:pt x="1778000" y="403225"/>
                  </a:cubicBezTo>
                  <a:cubicBezTo>
                    <a:pt x="1782233" y="402167"/>
                    <a:pt x="1786689" y="401769"/>
                    <a:pt x="1790700" y="400050"/>
                  </a:cubicBezTo>
                  <a:cubicBezTo>
                    <a:pt x="1797960" y="396939"/>
                    <a:pt x="1806420" y="387428"/>
                    <a:pt x="1812925" y="384175"/>
                  </a:cubicBezTo>
                  <a:cubicBezTo>
                    <a:pt x="1816828" y="382224"/>
                    <a:pt x="1821392" y="382058"/>
                    <a:pt x="1825625" y="381000"/>
                  </a:cubicBezTo>
                  <a:cubicBezTo>
                    <a:pt x="1828800" y="382058"/>
                    <a:pt x="1832783" y="381808"/>
                    <a:pt x="1835150" y="384175"/>
                  </a:cubicBezTo>
                  <a:cubicBezTo>
                    <a:pt x="1837517" y="386542"/>
                    <a:pt x="1836469" y="390915"/>
                    <a:pt x="1838325" y="393700"/>
                  </a:cubicBezTo>
                  <a:cubicBezTo>
                    <a:pt x="1840816" y="397436"/>
                    <a:pt x="1844675" y="400050"/>
                    <a:pt x="1847850" y="403225"/>
                  </a:cubicBezTo>
                  <a:cubicBezTo>
                    <a:pt x="1853438" y="419990"/>
                    <a:pt x="1849169" y="409965"/>
                    <a:pt x="1863725" y="431800"/>
                  </a:cubicBezTo>
                  <a:cubicBezTo>
                    <a:pt x="1865581" y="434585"/>
                    <a:pt x="1865403" y="438332"/>
                    <a:pt x="1866900" y="441325"/>
                  </a:cubicBezTo>
                  <a:cubicBezTo>
                    <a:pt x="1876141" y="459807"/>
                    <a:pt x="1875471" y="444656"/>
                    <a:pt x="1892300" y="469900"/>
                  </a:cubicBezTo>
                  <a:cubicBezTo>
                    <a:pt x="1894417" y="473075"/>
                    <a:pt x="1895952" y="476727"/>
                    <a:pt x="1898650" y="479425"/>
                  </a:cubicBezTo>
                  <a:cubicBezTo>
                    <a:pt x="1904805" y="485580"/>
                    <a:pt x="1909953" y="486368"/>
                    <a:pt x="1917700" y="488950"/>
                  </a:cubicBezTo>
                  <a:cubicBezTo>
                    <a:pt x="1923628" y="492902"/>
                    <a:pt x="1933155" y="498354"/>
                    <a:pt x="1936750" y="504825"/>
                  </a:cubicBezTo>
                  <a:cubicBezTo>
                    <a:pt x="1940001" y="510676"/>
                    <a:pt x="1938367" y="519142"/>
                    <a:pt x="1943100" y="523875"/>
                  </a:cubicBezTo>
                  <a:cubicBezTo>
                    <a:pt x="1946275" y="527050"/>
                    <a:pt x="1949868" y="529856"/>
                    <a:pt x="1952625" y="533400"/>
                  </a:cubicBezTo>
                  <a:lnTo>
                    <a:pt x="1971675" y="561975"/>
                  </a:lnTo>
                  <a:cubicBezTo>
                    <a:pt x="1973792" y="565150"/>
                    <a:pt x="1977887" y="566432"/>
                    <a:pt x="1981200" y="568325"/>
                  </a:cubicBezTo>
                  <a:cubicBezTo>
                    <a:pt x="1987377" y="571855"/>
                    <a:pt x="1996139" y="576231"/>
                    <a:pt x="2003425" y="577850"/>
                  </a:cubicBezTo>
                  <a:cubicBezTo>
                    <a:pt x="2030115" y="583781"/>
                    <a:pt x="2017117" y="578433"/>
                    <a:pt x="2047875" y="584200"/>
                  </a:cubicBezTo>
                  <a:cubicBezTo>
                    <a:pt x="2064245" y="587269"/>
                    <a:pt x="2069704" y="589360"/>
                    <a:pt x="2082800" y="593725"/>
                  </a:cubicBezTo>
                  <a:lnTo>
                    <a:pt x="2089150" y="612775"/>
                  </a:lnTo>
                  <a:cubicBezTo>
                    <a:pt x="2090570" y="617035"/>
                    <a:pt x="2083074" y="619425"/>
                    <a:pt x="2079625" y="622300"/>
                  </a:cubicBezTo>
                  <a:cubicBezTo>
                    <a:pt x="2071419" y="629139"/>
                    <a:pt x="2070121" y="628643"/>
                    <a:pt x="2060575" y="631825"/>
                  </a:cubicBezTo>
                  <a:cubicBezTo>
                    <a:pt x="2059517" y="635000"/>
                    <a:pt x="2058212" y="638103"/>
                    <a:pt x="2057400" y="641350"/>
                  </a:cubicBezTo>
                  <a:cubicBezTo>
                    <a:pt x="2056091" y="646585"/>
                    <a:pt x="2057362" y="652834"/>
                    <a:pt x="2054225" y="657225"/>
                  </a:cubicBezTo>
                  <a:cubicBezTo>
                    <a:pt x="2051474" y="661076"/>
                    <a:pt x="2045584" y="661140"/>
                    <a:pt x="2041525" y="663575"/>
                  </a:cubicBezTo>
                  <a:cubicBezTo>
                    <a:pt x="2034981" y="667502"/>
                    <a:pt x="2022475" y="676275"/>
                    <a:pt x="2022475" y="676275"/>
                  </a:cubicBezTo>
                  <a:cubicBezTo>
                    <a:pt x="2019965" y="680040"/>
                    <a:pt x="2007711" y="701120"/>
                    <a:pt x="2000250" y="704850"/>
                  </a:cubicBezTo>
                  <a:cubicBezTo>
                    <a:pt x="1995423" y="707263"/>
                    <a:pt x="1989610" y="706716"/>
                    <a:pt x="1984375" y="708025"/>
                  </a:cubicBezTo>
                  <a:cubicBezTo>
                    <a:pt x="1981128" y="708837"/>
                    <a:pt x="1978025" y="710142"/>
                    <a:pt x="1974850" y="711200"/>
                  </a:cubicBezTo>
                  <a:cubicBezTo>
                    <a:pt x="1964939" y="709961"/>
                    <a:pt x="1947929" y="711680"/>
                    <a:pt x="1939925" y="701675"/>
                  </a:cubicBezTo>
                  <a:cubicBezTo>
                    <a:pt x="1937834" y="699062"/>
                    <a:pt x="1937808" y="695325"/>
                    <a:pt x="1936750" y="692150"/>
                  </a:cubicBezTo>
                  <a:cubicBezTo>
                    <a:pt x="1924910" y="692939"/>
                    <a:pt x="1884531" y="694431"/>
                    <a:pt x="1866900" y="698500"/>
                  </a:cubicBezTo>
                  <a:cubicBezTo>
                    <a:pt x="1860378" y="700005"/>
                    <a:pt x="1847850" y="704850"/>
                    <a:pt x="1847850" y="704850"/>
                  </a:cubicBezTo>
                  <a:cubicBezTo>
                    <a:pt x="1822450" y="721783"/>
                    <a:pt x="1853142" y="699558"/>
                    <a:pt x="1831975" y="720725"/>
                  </a:cubicBezTo>
                  <a:cubicBezTo>
                    <a:pt x="1829277" y="723423"/>
                    <a:pt x="1825937" y="725525"/>
                    <a:pt x="1822450" y="727075"/>
                  </a:cubicBezTo>
                  <a:cubicBezTo>
                    <a:pt x="1802710" y="735848"/>
                    <a:pt x="1795123" y="734253"/>
                    <a:pt x="1771650" y="736600"/>
                  </a:cubicBezTo>
                  <a:cubicBezTo>
                    <a:pt x="1768320" y="737710"/>
                    <a:pt x="1753719" y="741649"/>
                    <a:pt x="1752600" y="746125"/>
                  </a:cubicBezTo>
                  <a:cubicBezTo>
                    <a:pt x="1751039" y="752370"/>
                    <a:pt x="1754512" y="758862"/>
                    <a:pt x="1755775" y="765175"/>
                  </a:cubicBezTo>
                  <a:cubicBezTo>
                    <a:pt x="1758174" y="777171"/>
                    <a:pt x="1761250" y="784776"/>
                    <a:pt x="1765300" y="796925"/>
                  </a:cubicBezTo>
                  <a:lnTo>
                    <a:pt x="1768475" y="806450"/>
                  </a:lnTo>
                  <a:cubicBezTo>
                    <a:pt x="1772414" y="818268"/>
                    <a:pt x="1770057" y="827074"/>
                    <a:pt x="1774825" y="838200"/>
                  </a:cubicBezTo>
                  <a:cubicBezTo>
                    <a:pt x="1776328" y="841707"/>
                    <a:pt x="1778957" y="844620"/>
                    <a:pt x="1781175" y="847725"/>
                  </a:cubicBezTo>
                  <a:cubicBezTo>
                    <a:pt x="1804956" y="881019"/>
                    <a:pt x="1777148" y="842257"/>
                    <a:pt x="1800225" y="869950"/>
                  </a:cubicBezTo>
                  <a:cubicBezTo>
                    <a:pt x="1814320" y="886864"/>
                    <a:pt x="1800204" y="871817"/>
                    <a:pt x="1809750" y="889000"/>
                  </a:cubicBezTo>
                  <a:cubicBezTo>
                    <a:pt x="1813456" y="895671"/>
                    <a:pt x="1818217" y="901700"/>
                    <a:pt x="1822450" y="908050"/>
                  </a:cubicBezTo>
                  <a:cubicBezTo>
                    <a:pt x="1824306" y="910835"/>
                    <a:pt x="1824128" y="914582"/>
                    <a:pt x="1825625" y="917575"/>
                  </a:cubicBezTo>
                  <a:cubicBezTo>
                    <a:pt x="1827332" y="920988"/>
                    <a:pt x="1829858" y="923925"/>
                    <a:pt x="1831975" y="927100"/>
                  </a:cubicBezTo>
                  <a:cubicBezTo>
                    <a:pt x="1833033" y="931333"/>
                    <a:pt x="1833951" y="935604"/>
                    <a:pt x="1835150" y="939800"/>
                  </a:cubicBezTo>
                  <a:cubicBezTo>
                    <a:pt x="1836069" y="943018"/>
                    <a:pt x="1837513" y="946078"/>
                    <a:pt x="1838325" y="949325"/>
                  </a:cubicBezTo>
                  <a:cubicBezTo>
                    <a:pt x="1839634" y="954560"/>
                    <a:pt x="1838823" y="960515"/>
                    <a:pt x="1841500" y="965200"/>
                  </a:cubicBezTo>
                  <a:cubicBezTo>
                    <a:pt x="1843393" y="968513"/>
                    <a:pt x="1847850" y="969433"/>
                    <a:pt x="1851025" y="971550"/>
                  </a:cubicBezTo>
                  <a:cubicBezTo>
                    <a:pt x="1847850" y="974725"/>
                    <a:pt x="1844949" y="978200"/>
                    <a:pt x="1841500" y="981075"/>
                  </a:cubicBezTo>
                  <a:cubicBezTo>
                    <a:pt x="1838569" y="983518"/>
                    <a:pt x="1832448" y="983639"/>
                    <a:pt x="1831975" y="987425"/>
                  </a:cubicBezTo>
                  <a:cubicBezTo>
                    <a:pt x="1829748" y="1005241"/>
                    <a:pt x="1840298" y="1005427"/>
                    <a:pt x="1847850" y="1016000"/>
                  </a:cubicBezTo>
                  <a:cubicBezTo>
                    <a:pt x="1863377" y="1037738"/>
                    <a:pt x="1845552" y="1020227"/>
                    <a:pt x="1860550" y="1038225"/>
                  </a:cubicBezTo>
                  <a:cubicBezTo>
                    <a:pt x="1873199" y="1053404"/>
                    <a:pt x="1865977" y="1042748"/>
                    <a:pt x="1879600" y="1054100"/>
                  </a:cubicBezTo>
                  <a:cubicBezTo>
                    <a:pt x="1883049" y="1056975"/>
                    <a:pt x="1885950" y="1060450"/>
                    <a:pt x="1889125" y="1063625"/>
                  </a:cubicBezTo>
                  <a:cubicBezTo>
                    <a:pt x="1872192" y="1089025"/>
                    <a:pt x="1894417" y="1058333"/>
                    <a:pt x="1873250" y="1079500"/>
                  </a:cubicBezTo>
                  <a:cubicBezTo>
                    <a:pt x="1852083" y="1100667"/>
                    <a:pt x="1882775" y="1078442"/>
                    <a:pt x="1857375" y="1095375"/>
                  </a:cubicBezTo>
                  <a:cubicBezTo>
                    <a:pt x="1860263" y="1124251"/>
                    <a:pt x="1853339" y="1122703"/>
                    <a:pt x="1870075" y="1136650"/>
                  </a:cubicBezTo>
                  <a:cubicBezTo>
                    <a:pt x="1873006" y="1139093"/>
                    <a:pt x="1876425" y="1140883"/>
                    <a:pt x="1879600" y="1143000"/>
                  </a:cubicBezTo>
                  <a:cubicBezTo>
                    <a:pt x="1881717" y="1146175"/>
                    <a:pt x="1884243" y="1149112"/>
                    <a:pt x="1885950" y="1152525"/>
                  </a:cubicBezTo>
                  <a:cubicBezTo>
                    <a:pt x="1889206" y="1159038"/>
                    <a:pt x="1891160" y="1165062"/>
                    <a:pt x="1885950" y="1171575"/>
                  </a:cubicBezTo>
                  <a:cubicBezTo>
                    <a:pt x="1883566" y="1174555"/>
                    <a:pt x="1879356" y="1175482"/>
                    <a:pt x="1876425" y="1177925"/>
                  </a:cubicBezTo>
                  <a:cubicBezTo>
                    <a:pt x="1872976" y="1180800"/>
                    <a:pt x="1870075" y="1184275"/>
                    <a:pt x="1866900" y="1187450"/>
                  </a:cubicBezTo>
                  <a:cubicBezTo>
                    <a:pt x="1874880" y="1211391"/>
                    <a:pt x="1864115" y="1181881"/>
                    <a:pt x="1876425" y="1206500"/>
                  </a:cubicBezTo>
                  <a:cubicBezTo>
                    <a:pt x="1877922" y="1209493"/>
                    <a:pt x="1878542" y="1212850"/>
                    <a:pt x="1879600" y="1216025"/>
                  </a:cubicBezTo>
                  <a:cubicBezTo>
                    <a:pt x="1876425" y="1219200"/>
                    <a:pt x="1872256" y="1221625"/>
                    <a:pt x="1870075" y="1225550"/>
                  </a:cubicBezTo>
                  <a:cubicBezTo>
                    <a:pt x="1866824" y="1231401"/>
                    <a:pt x="1865842" y="1238250"/>
                    <a:pt x="1863725" y="1244600"/>
                  </a:cubicBezTo>
                  <a:lnTo>
                    <a:pt x="1857375" y="1263650"/>
                  </a:lnTo>
                  <a:cubicBezTo>
                    <a:pt x="1854962" y="1270890"/>
                    <a:pt x="1848908" y="1276350"/>
                    <a:pt x="1844675" y="1282700"/>
                  </a:cubicBezTo>
                  <a:cubicBezTo>
                    <a:pt x="1841158" y="1287976"/>
                    <a:pt x="1831058" y="1290414"/>
                    <a:pt x="1825625" y="1292225"/>
                  </a:cubicBezTo>
                  <a:cubicBezTo>
                    <a:pt x="1818217" y="1291167"/>
                    <a:pt x="1810884" y="1289050"/>
                    <a:pt x="1803400" y="1289050"/>
                  </a:cubicBezTo>
                  <a:cubicBezTo>
                    <a:pt x="1796962" y="1289050"/>
                    <a:pt x="1790595" y="1290664"/>
                    <a:pt x="1784350" y="1292225"/>
                  </a:cubicBezTo>
                  <a:lnTo>
                    <a:pt x="1755775" y="1301750"/>
                  </a:lnTo>
                  <a:cubicBezTo>
                    <a:pt x="1745685" y="1305113"/>
                    <a:pt x="1734608" y="1303867"/>
                    <a:pt x="1724025" y="1304925"/>
                  </a:cubicBezTo>
                  <a:cubicBezTo>
                    <a:pt x="1717675" y="1307042"/>
                    <a:pt x="1709708" y="1306542"/>
                    <a:pt x="1704975" y="1311275"/>
                  </a:cubicBezTo>
                  <a:cubicBezTo>
                    <a:pt x="1692752" y="1323498"/>
                    <a:pt x="1699186" y="1318309"/>
                    <a:pt x="1685925" y="1327150"/>
                  </a:cubicBezTo>
                  <a:cubicBezTo>
                    <a:pt x="1684867" y="1330325"/>
                    <a:pt x="1682750" y="1333328"/>
                    <a:pt x="1682750" y="1336675"/>
                  </a:cubicBezTo>
                  <a:cubicBezTo>
                    <a:pt x="1682750" y="1344756"/>
                    <a:pt x="1691583" y="1353744"/>
                    <a:pt x="1695450" y="1358900"/>
                  </a:cubicBezTo>
                  <a:cubicBezTo>
                    <a:pt x="1703430" y="1382841"/>
                    <a:pt x="1692665" y="1353331"/>
                    <a:pt x="1704975" y="1377950"/>
                  </a:cubicBezTo>
                  <a:cubicBezTo>
                    <a:pt x="1706472" y="1380943"/>
                    <a:pt x="1707092" y="1384300"/>
                    <a:pt x="1708150" y="1387475"/>
                  </a:cubicBezTo>
                  <a:cubicBezTo>
                    <a:pt x="1706507" y="1397331"/>
                    <a:pt x="1707266" y="1408849"/>
                    <a:pt x="1698625" y="1416050"/>
                  </a:cubicBezTo>
                  <a:cubicBezTo>
                    <a:pt x="1694989" y="1419080"/>
                    <a:pt x="1690158" y="1420283"/>
                    <a:pt x="1685925" y="1422400"/>
                  </a:cubicBezTo>
                  <a:cubicBezTo>
                    <a:pt x="1684867" y="1425575"/>
                    <a:pt x="1684606" y="1429140"/>
                    <a:pt x="1682750" y="1431925"/>
                  </a:cubicBezTo>
                  <a:cubicBezTo>
                    <a:pt x="1680259" y="1435661"/>
                    <a:pt x="1674314" y="1437094"/>
                    <a:pt x="1673225" y="1441450"/>
                  </a:cubicBezTo>
                  <a:cubicBezTo>
                    <a:pt x="1669913" y="1454698"/>
                    <a:pt x="1678523" y="1457339"/>
                    <a:pt x="1682750" y="1466850"/>
                  </a:cubicBezTo>
                  <a:cubicBezTo>
                    <a:pt x="1685468" y="1472967"/>
                    <a:pt x="1686983" y="1479550"/>
                    <a:pt x="1689100" y="1485900"/>
                  </a:cubicBezTo>
                  <a:lnTo>
                    <a:pt x="1698625" y="1514475"/>
                  </a:lnTo>
                  <a:cubicBezTo>
                    <a:pt x="1702902" y="1527305"/>
                    <a:pt x="1701200" y="1529210"/>
                    <a:pt x="1704975" y="1543050"/>
                  </a:cubicBezTo>
                  <a:cubicBezTo>
                    <a:pt x="1717060" y="1587361"/>
                    <a:pt x="1706765" y="1539298"/>
                    <a:pt x="1714500" y="1577975"/>
                  </a:cubicBezTo>
                  <a:cubicBezTo>
                    <a:pt x="1710586" y="1613203"/>
                    <a:pt x="1714356" y="1597458"/>
                    <a:pt x="1704975" y="1625600"/>
                  </a:cubicBezTo>
                  <a:cubicBezTo>
                    <a:pt x="1703768" y="1629220"/>
                    <a:pt x="1698625" y="1629833"/>
                    <a:pt x="1695450" y="1631950"/>
                  </a:cubicBezTo>
                  <a:cubicBezTo>
                    <a:pt x="1691217" y="1630892"/>
                    <a:pt x="1686946" y="1629974"/>
                    <a:pt x="1682750" y="1628775"/>
                  </a:cubicBezTo>
                  <a:cubicBezTo>
                    <a:pt x="1679532" y="1627856"/>
                    <a:pt x="1676572" y="1625600"/>
                    <a:pt x="1673225" y="1625600"/>
                  </a:cubicBezTo>
                  <a:cubicBezTo>
                    <a:pt x="1661535" y="1625600"/>
                    <a:pt x="1649942" y="1627717"/>
                    <a:pt x="1638300" y="1628775"/>
                  </a:cubicBezTo>
                  <a:cubicBezTo>
                    <a:pt x="1633008" y="1627717"/>
                    <a:pt x="1627660" y="1626909"/>
                    <a:pt x="1622425" y="1625600"/>
                  </a:cubicBezTo>
                  <a:cubicBezTo>
                    <a:pt x="1619178" y="1624788"/>
                    <a:pt x="1616247" y="1622425"/>
                    <a:pt x="1612900" y="1622425"/>
                  </a:cubicBezTo>
                  <a:cubicBezTo>
                    <a:pt x="1605416" y="1622425"/>
                    <a:pt x="1598083" y="1624542"/>
                    <a:pt x="1590675" y="1625600"/>
                  </a:cubicBezTo>
                  <a:cubicBezTo>
                    <a:pt x="1587500" y="1626658"/>
                    <a:pt x="1583517" y="1626408"/>
                    <a:pt x="1581150" y="1628775"/>
                  </a:cubicBezTo>
                  <a:cubicBezTo>
                    <a:pt x="1578783" y="1631142"/>
                    <a:pt x="1579472" y="1635307"/>
                    <a:pt x="1577975" y="1638300"/>
                  </a:cubicBezTo>
                  <a:cubicBezTo>
                    <a:pt x="1576268" y="1641713"/>
                    <a:pt x="1573332" y="1644412"/>
                    <a:pt x="1571625" y="1647825"/>
                  </a:cubicBezTo>
                  <a:cubicBezTo>
                    <a:pt x="1566567" y="1657942"/>
                    <a:pt x="1569098" y="1669726"/>
                    <a:pt x="1555750" y="1676400"/>
                  </a:cubicBezTo>
                  <a:cubicBezTo>
                    <a:pt x="1551517" y="1678517"/>
                    <a:pt x="1547109" y="1680315"/>
                    <a:pt x="1543050" y="1682750"/>
                  </a:cubicBezTo>
                  <a:cubicBezTo>
                    <a:pt x="1536506" y="1686677"/>
                    <a:pt x="1524000" y="1695450"/>
                    <a:pt x="1524000" y="1695450"/>
                  </a:cubicBezTo>
                  <a:cubicBezTo>
                    <a:pt x="1521883" y="1698625"/>
                    <a:pt x="1520630" y="1702591"/>
                    <a:pt x="1517650" y="1704975"/>
                  </a:cubicBezTo>
                  <a:cubicBezTo>
                    <a:pt x="1515037" y="1707066"/>
                    <a:pt x="1511118" y="1706653"/>
                    <a:pt x="1508125" y="1708150"/>
                  </a:cubicBezTo>
                  <a:cubicBezTo>
                    <a:pt x="1504712" y="1709857"/>
                    <a:pt x="1502087" y="1712950"/>
                    <a:pt x="1498600" y="1714500"/>
                  </a:cubicBezTo>
                  <a:cubicBezTo>
                    <a:pt x="1492483" y="1717218"/>
                    <a:pt x="1485900" y="1718733"/>
                    <a:pt x="1479550" y="1720850"/>
                  </a:cubicBezTo>
                  <a:lnTo>
                    <a:pt x="1470025" y="1724025"/>
                  </a:lnTo>
                  <a:lnTo>
                    <a:pt x="1460500" y="1727200"/>
                  </a:lnTo>
                  <a:cubicBezTo>
                    <a:pt x="1457325" y="1729317"/>
                    <a:pt x="1454462" y="1732000"/>
                    <a:pt x="1450975" y="1733550"/>
                  </a:cubicBezTo>
                  <a:cubicBezTo>
                    <a:pt x="1444858" y="1736268"/>
                    <a:pt x="1431925" y="1739900"/>
                    <a:pt x="1431925" y="1739900"/>
                  </a:cubicBezTo>
                  <a:cubicBezTo>
                    <a:pt x="1426517" y="1743506"/>
                    <a:pt x="1413638" y="1751837"/>
                    <a:pt x="1409700" y="1755775"/>
                  </a:cubicBezTo>
                  <a:cubicBezTo>
                    <a:pt x="1407002" y="1758473"/>
                    <a:pt x="1405467" y="1762125"/>
                    <a:pt x="1403350" y="1765300"/>
                  </a:cubicBezTo>
                  <a:cubicBezTo>
                    <a:pt x="1381933" y="1743883"/>
                    <a:pt x="1392819" y="1749090"/>
                    <a:pt x="1374775" y="1743075"/>
                  </a:cubicBezTo>
                  <a:cubicBezTo>
                    <a:pt x="1358900" y="1744133"/>
                    <a:pt x="1342973" y="1744584"/>
                    <a:pt x="1327150" y="1746250"/>
                  </a:cubicBezTo>
                  <a:cubicBezTo>
                    <a:pt x="1322810" y="1746707"/>
                    <a:pt x="1318081" y="1747004"/>
                    <a:pt x="1314450" y="1749425"/>
                  </a:cubicBezTo>
                  <a:cubicBezTo>
                    <a:pt x="1309174" y="1752942"/>
                    <a:pt x="1306736" y="1763042"/>
                    <a:pt x="1304925" y="1768475"/>
                  </a:cubicBezTo>
                  <a:cubicBezTo>
                    <a:pt x="1309413" y="1790914"/>
                    <a:pt x="1306393" y="1779230"/>
                    <a:pt x="1314450" y="1803400"/>
                  </a:cubicBezTo>
                  <a:lnTo>
                    <a:pt x="1317625" y="1812925"/>
                  </a:lnTo>
                  <a:cubicBezTo>
                    <a:pt x="1315508" y="1816100"/>
                    <a:pt x="1313973" y="1819752"/>
                    <a:pt x="1311275" y="1822450"/>
                  </a:cubicBezTo>
                  <a:cubicBezTo>
                    <a:pt x="1308577" y="1825148"/>
                    <a:pt x="1305536" y="1828327"/>
                    <a:pt x="1301750" y="1828800"/>
                  </a:cubicBezTo>
                  <a:cubicBezTo>
                    <a:pt x="1296177" y="1829497"/>
                    <a:pt x="1282570" y="1824523"/>
                    <a:pt x="1276350" y="1822450"/>
                  </a:cubicBezTo>
                  <a:lnTo>
                    <a:pt x="1257300" y="1809750"/>
                  </a:lnTo>
                  <a:cubicBezTo>
                    <a:pt x="1254125" y="1807633"/>
                    <a:pt x="1251395" y="1804607"/>
                    <a:pt x="1247775" y="1803400"/>
                  </a:cubicBezTo>
                  <a:lnTo>
                    <a:pt x="1238250" y="1800225"/>
                  </a:lnTo>
                  <a:cubicBezTo>
                    <a:pt x="1235779" y="1797754"/>
                    <a:pt x="1222928" y="1786148"/>
                    <a:pt x="1222375" y="1781175"/>
                  </a:cubicBezTo>
                  <a:cubicBezTo>
                    <a:pt x="1222360" y="1781039"/>
                    <a:pt x="1225459" y="1756683"/>
                    <a:pt x="1228725" y="1752600"/>
                  </a:cubicBezTo>
                  <a:cubicBezTo>
                    <a:pt x="1231717" y="1748860"/>
                    <a:pt x="1247825" y="1741462"/>
                    <a:pt x="1250950" y="1739900"/>
                  </a:cubicBezTo>
                  <a:cubicBezTo>
                    <a:pt x="1254161" y="1735084"/>
                    <a:pt x="1260475" y="1727423"/>
                    <a:pt x="1260475" y="1720850"/>
                  </a:cubicBezTo>
                  <a:cubicBezTo>
                    <a:pt x="1260475" y="1715454"/>
                    <a:pt x="1259195" y="1710028"/>
                    <a:pt x="1257300" y="1704975"/>
                  </a:cubicBezTo>
                  <a:cubicBezTo>
                    <a:pt x="1255960" y="1701402"/>
                    <a:pt x="1252500" y="1698937"/>
                    <a:pt x="1250950" y="1695450"/>
                  </a:cubicBezTo>
                  <a:cubicBezTo>
                    <a:pt x="1248232" y="1689333"/>
                    <a:pt x="1246717" y="1682750"/>
                    <a:pt x="1244600" y="1676400"/>
                  </a:cubicBezTo>
                  <a:lnTo>
                    <a:pt x="1241425" y="1666875"/>
                  </a:lnTo>
                  <a:cubicBezTo>
                    <a:pt x="1242483" y="1662642"/>
                    <a:pt x="1242179" y="1657806"/>
                    <a:pt x="1244600" y="1654175"/>
                  </a:cubicBezTo>
                  <a:cubicBezTo>
                    <a:pt x="1248668" y="1648073"/>
                    <a:pt x="1257734" y="1647186"/>
                    <a:pt x="1263650" y="1644650"/>
                  </a:cubicBezTo>
                  <a:cubicBezTo>
                    <a:pt x="1268000" y="1642786"/>
                    <a:pt x="1272117" y="1640417"/>
                    <a:pt x="1276350" y="1638300"/>
                  </a:cubicBezTo>
                  <a:cubicBezTo>
                    <a:pt x="1278467" y="1635125"/>
                    <a:pt x="1282073" y="1632539"/>
                    <a:pt x="1282700" y="1628775"/>
                  </a:cubicBezTo>
                  <a:cubicBezTo>
                    <a:pt x="1283250" y="1625474"/>
                    <a:pt x="1281022" y="1622243"/>
                    <a:pt x="1279525" y="1619250"/>
                  </a:cubicBezTo>
                  <a:cubicBezTo>
                    <a:pt x="1276941" y="1614082"/>
                    <a:pt x="1268511" y="1602901"/>
                    <a:pt x="1263650" y="1600200"/>
                  </a:cubicBezTo>
                  <a:cubicBezTo>
                    <a:pt x="1247164" y="1591041"/>
                    <a:pt x="1223370" y="1592081"/>
                    <a:pt x="1206500" y="1590675"/>
                  </a:cubicBezTo>
                  <a:cubicBezTo>
                    <a:pt x="1203982" y="1586898"/>
                    <a:pt x="1195408" y="1572688"/>
                    <a:pt x="1190625" y="1571625"/>
                  </a:cubicBezTo>
                  <a:cubicBezTo>
                    <a:pt x="1184341" y="1570228"/>
                    <a:pt x="1177925" y="1573742"/>
                    <a:pt x="1171575" y="1574800"/>
                  </a:cubicBezTo>
                  <a:cubicBezTo>
                    <a:pt x="1168400" y="1575858"/>
                    <a:pt x="1165157" y="1579218"/>
                    <a:pt x="1162050" y="1577975"/>
                  </a:cubicBezTo>
                  <a:cubicBezTo>
                    <a:pt x="1158507" y="1576558"/>
                    <a:pt x="1155954" y="1572257"/>
                    <a:pt x="1155700" y="1568450"/>
                  </a:cubicBezTo>
                  <a:cubicBezTo>
                    <a:pt x="1154852" y="1555734"/>
                    <a:pt x="1157468" y="1543016"/>
                    <a:pt x="1158875" y="1530350"/>
                  </a:cubicBezTo>
                  <a:cubicBezTo>
                    <a:pt x="1159586" y="1523952"/>
                    <a:pt x="1161071" y="1517663"/>
                    <a:pt x="1162050" y="1511300"/>
                  </a:cubicBezTo>
                  <a:cubicBezTo>
                    <a:pt x="1163350" y="1502850"/>
                    <a:pt x="1163909" y="1488533"/>
                    <a:pt x="1168400" y="1479550"/>
                  </a:cubicBezTo>
                  <a:cubicBezTo>
                    <a:pt x="1180710" y="1454931"/>
                    <a:pt x="1169945" y="1484441"/>
                    <a:pt x="1177925" y="1460500"/>
                  </a:cubicBezTo>
                  <a:cubicBezTo>
                    <a:pt x="1175343" y="1452753"/>
                    <a:pt x="1174555" y="1447605"/>
                    <a:pt x="1168400" y="1441450"/>
                  </a:cubicBezTo>
                  <a:cubicBezTo>
                    <a:pt x="1165702" y="1438752"/>
                    <a:pt x="1162288" y="1436807"/>
                    <a:pt x="1158875" y="1435100"/>
                  </a:cubicBezTo>
                  <a:cubicBezTo>
                    <a:pt x="1155882" y="1433603"/>
                    <a:pt x="1152525" y="1432983"/>
                    <a:pt x="1149350" y="1431925"/>
                  </a:cubicBezTo>
                  <a:cubicBezTo>
                    <a:pt x="1127515" y="1417369"/>
                    <a:pt x="1132713" y="1426465"/>
                    <a:pt x="1127125" y="1409700"/>
                  </a:cubicBezTo>
                  <a:cubicBezTo>
                    <a:pt x="1130174" y="1405126"/>
                    <a:pt x="1139205" y="1397011"/>
                    <a:pt x="1130300" y="1390650"/>
                  </a:cubicBezTo>
                  <a:cubicBezTo>
                    <a:pt x="1124853" y="1386759"/>
                    <a:pt x="1111250" y="1384300"/>
                    <a:pt x="1111250" y="1384300"/>
                  </a:cubicBezTo>
                  <a:cubicBezTo>
                    <a:pt x="1097975" y="1375450"/>
                    <a:pt x="1092001" y="1373266"/>
                    <a:pt x="1082675" y="1362075"/>
                  </a:cubicBezTo>
                  <a:cubicBezTo>
                    <a:pt x="1071301" y="1348426"/>
                    <a:pt x="1080310" y="1357344"/>
                    <a:pt x="1073150" y="1343025"/>
                  </a:cubicBezTo>
                  <a:cubicBezTo>
                    <a:pt x="1071443" y="1339612"/>
                    <a:pt x="1068917" y="1336675"/>
                    <a:pt x="1066800" y="1333500"/>
                  </a:cubicBezTo>
                  <a:cubicBezTo>
                    <a:pt x="1064002" y="1308319"/>
                    <a:pt x="1061319" y="1307801"/>
                    <a:pt x="1066800" y="1285875"/>
                  </a:cubicBezTo>
                  <a:cubicBezTo>
                    <a:pt x="1068423" y="1279381"/>
                    <a:pt x="1073150" y="1266825"/>
                    <a:pt x="1073150" y="1266825"/>
                  </a:cubicBezTo>
                  <a:cubicBezTo>
                    <a:pt x="1072092" y="1261533"/>
                    <a:pt x="1071870" y="1256003"/>
                    <a:pt x="1069975" y="1250950"/>
                  </a:cubicBezTo>
                  <a:cubicBezTo>
                    <a:pt x="1067650" y="1244749"/>
                    <a:pt x="1060659" y="1237043"/>
                    <a:pt x="1054100" y="1235075"/>
                  </a:cubicBezTo>
                  <a:cubicBezTo>
                    <a:pt x="1046932" y="1232925"/>
                    <a:pt x="1039257" y="1233130"/>
                    <a:pt x="1031875" y="1231900"/>
                  </a:cubicBezTo>
                  <a:cubicBezTo>
                    <a:pt x="1019783" y="1229885"/>
                    <a:pt x="1014717" y="1228404"/>
                    <a:pt x="1003300" y="1225550"/>
                  </a:cubicBezTo>
                  <a:cubicBezTo>
                    <a:pt x="998938" y="1219007"/>
                    <a:pt x="983716" y="1207034"/>
                    <a:pt x="993775" y="1196975"/>
                  </a:cubicBezTo>
                  <a:cubicBezTo>
                    <a:pt x="996142" y="1194608"/>
                    <a:pt x="1000125" y="1194858"/>
                    <a:pt x="1003300" y="1193800"/>
                  </a:cubicBezTo>
                  <a:cubicBezTo>
                    <a:pt x="1016860" y="1173460"/>
                    <a:pt x="1020307" y="1177464"/>
                    <a:pt x="1012825" y="1152525"/>
                  </a:cubicBezTo>
                  <a:cubicBezTo>
                    <a:pt x="1011729" y="1148870"/>
                    <a:pt x="1009711" y="1145022"/>
                    <a:pt x="1006475" y="1143000"/>
                  </a:cubicBezTo>
                  <a:cubicBezTo>
                    <a:pt x="1000799" y="1139452"/>
                    <a:pt x="987425" y="1136650"/>
                    <a:pt x="987425" y="1136650"/>
                  </a:cubicBezTo>
                  <a:cubicBezTo>
                    <a:pt x="983105" y="1123691"/>
                    <a:pt x="983132" y="1129452"/>
                    <a:pt x="987425" y="1114425"/>
                  </a:cubicBezTo>
                  <a:cubicBezTo>
                    <a:pt x="988344" y="1111207"/>
                    <a:pt x="988509" y="1107513"/>
                    <a:pt x="990600" y="1104900"/>
                  </a:cubicBezTo>
                  <a:cubicBezTo>
                    <a:pt x="992984" y="1101920"/>
                    <a:pt x="996950" y="1100667"/>
                    <a:pt x="1000125" y="1098550"/>
                  </a:cubicBezTo>
                  <a:cubicBezTo>
                    <a:pt x="1018117" y="1071563"/>
                    <a:pt x="988483" y="1113367"/>
                    <a:pt x="1025525" y="1076325"/>
                  </a:cubicBezTo>
                  <a:cubicBezTo>
                    <a:pt x="1037748" y="1064102"/>
                    <a:pt x="1032559" y="1070536"/>
                    <a:pt x="1041400" y="1057275"/>
                  </a:cubicBezTo>
                  <a:cubicBezTo>
                    <a:pt x="1041747" y="1051728"/>
                    <a:pt x="1048590" y="1003602"/>
                    <a:pt x="1041400" y="987425"/>
                  </a:cubicBezTo>
                  <a:cubicBezTo>
                    <a:pt x="1039576" y="983322"/>
                    <a:pt x="1035050" y="981075"/>
                    <a:pt x="1031875" y="977900"/>
                  </a:cubicBezTo>
                  <a:cubicBezTo>
                    <a:pt x="1025525" y="978958"/>
                    <a:pt x="1018932" y="979039"/>
                    <a:pt x="1012825" y="981075"/>
                  </a:cubicBezTo>
                  <a:cubicBezTo>
                    <a:pt x="1001462" y="984863"/>
                    <a:pt x="1004080" y="988929"/>
                    <a:pt x="996950" y="996950"/>
                  </a:cubicBezTo>
                  <a:cubicBezTo>
                    <a:pt x="990984" y="1003662"/>
                    <a:pt x="984250" y="1009650"/>
                    <a:pt x="977900" y="1016000"/>
                  </a:cubicBezTo>
                  <a:lnTo>
                    <a:pt x="949325" y="1035050"/>
                  </a:lnTo>
                  <a:cubicBezTo>
                    <a:pt x="943756" y="1038763"/>
                    <a:pt x="930275" y="1041400"/>
                    <a:pt x="930275" y="1041400"/>
                  </a:cubicBezTo>
                  <a:cubicBezTo>
                    <a:pt x="927100" y="1043517"/>
                    <a:pt x="924163" y="1046043"/>
                    <a:pt x="920750" y="1047750"/>
                  </a:cubicBezTo>
                  <a:cubicBezTo>
                    <a:pt x="914241" y="1051004"/>
                    <a:pt x="901388" y="1052892"/>
                    <a:pt x="895350" y="1054100"/>
                  </a:cubicBezTo>
                  <a:cubicBezTo>
                    <a:pt x="892175" y="1053042"/>
                    <a:pt x="888438" y="1053016"/>
                    <a:pt x="885825" y="1050925"/>
                  </a:cubicBezTo>
                  <a:cubicBezTo>
                    <a:pt x="882845" y="1048541"/>
                    <a:pt x="880129" y="1045159"/>
                    <a:pt x="879475" y="1041400"/>
                  </a:cubicBezTo>
                  <a:cubicBezTo>
                    <a:pt x="875830" y="1020442"/>
                    <a:pt x="875242" y="999067"/>
                    <a:pt x="873125" y="977900"/>
                  </a:cubicBezTo>
                  <a:cubicBezTo>
                    <a:pt x="873116" y="977808"/>
                    <a:pt x="868279" y="957179"/>
                    <a:pt x="866775" y="955675"/>
                  </a:cubicBezTo>
                  <a:cubicBezTo>
                    <a:pt x="864408" y="953308"/>
                    <a:pt x="860425" y="953558"/>
                    <a:pt x="857250" y="952500"/>
                  </a:cubicBezTo>
                  <a:cubicBezTo>
                    <a:pt x="848783" y="953558"/>
                    <a:pt x="840245" y="954149"/>
                    <a:pt x="831850" y="955675"/>
                  </a:cubicBezTo>
                  <a:cubicBezTo>
                    <a:pt x="819309" y="957955"/>
                    <a:pt x="824421" y="959390"/>
                    <a:pt x="812800" y="965200"/>
                  </a:cubicBezTo>
                  <a:cubicBezTo>
                    <a:pt x="809807" y="966697"/>
                    <a:pt x="806450" y="967317"/>
                    <a:pt x="803275" y="968375"/>
                  </a:cubicBezTo>
                  <a:cubicBezTo>
                    <a:pt x="798459" y="965164"/>
                    <a:pt x="790798" y="958850"/>
                    <a:pt x="784225" y="958850"/>
                  </a:cubicBezTo>
                  <a:cubicBezTo>
                    <a:pt x="777787" y="958850"/>
                    <a:pt x="771525" y="960967"/>
                    <a:pt x="765175" y="962025"/>
                  </a:cubicBezTo>
                  <a:lnTo>
                    <a:pt x="755650" y="990600"/>
                  </a:lnTo>
                  <a:cubicBezTo>
                    <a:pt x="754592" y="993775"/>
                    <a:pt x="755650" y="999067"/>
                    <a:pt x="752475" y="1000125"/>
                  </a:cubicBezTo>
                  <a:lnTo>
                    <a:pt x="742950" y="1003300"/>
                  </a:lnTo>
                  <a:cubicBezTo>
                    <a:pt x="739775" y="1005417"/>
                    <a:pt x="737228" y="1009333"/>
                    <a:pt x="733425" y="1009650"/>
                  </a:cubicBezTo>
                  <a:cubicBezTo>
                    <a:pt x="716411" y="1011068"/>
                    <a:pt x="708743" y="1007773"/>
                    <a:pt x="695325" y="1003300"/>
                  </a:cubicBezTo>
                  <a:cubicBezTo>
                    <a:pt x="693208" y="1006475"/>
                    <a:pt x="689602" y="1009061"/>
                    <a:pt x="688975" y="1012825"/>
                  </a:cubicBezTo>
                  <a:cubicBezTo>
                    <a:pt x="688425" y="1016126"/>
                    <a:pt x="689783" y="1019983"/>
                    <a:pt x="692150" y="1022350"/>
                  </a:cubicBezTo>
                  <a:cubicBezTo>
                    <a:pt x="697546" y="1027746"/>
                    <a:pt x="704850" y="1030817"/>
                    <a:pt x="711200" y="1035050"/>
                  </a:cubicBezTo>
                  <a:cubicBezTo>
                    <a:pt x="723510" y="1043256"/>
                    <a:pt x="717105" y="1040193"/>
                    <a:pt x="730250" y="1044575"/>
                  </a:cubicBezTo>
                  <a:cubicBezTo>
                    <a:pt x="745441" y="1067361"/>
                    <a:pt x="737554" y="1058229"/>
                    <a:pt x="752475" y="1073150"/>
                  </a:cubicBezTo>
                  <a:cubicBezTo>
                    <a:pt x="753533" y="1076325"/>
                    <a:pt x="754924" y="1079408"/>
                    <a:pt x="755650" y="1082675"/>
                  </a:cubicBezTo>
                  <a:cubicBezTo>
                    <a:pt x="757047" y="1088959"/>
                    <a:pt x="757562" y="1095412"/>
                    <a:pt x="758825" y="1101725"/>
                  </a:cubicBezTo>
                  <a:cubicBezTo>
                    <a:pt x="759681" y="1106004"/>
                    <a:pt x="760942" y="1110192"/>
                    <a:pt x="762000" y="1114425"/>
                  </a:cubicBezTo>
                  <a:cubicBezTo>
                    <a:pt x="760296" y="1122945"/>
                    <a:pt x="757079" y="1142444"/>
                    <a:pt x="752475" y="1149350"/>
                  </a:cubicBezTo>
                  <a:lnTo>
                    <a:pt x="746125" y="1158875"/>
                  </a:lnTo>
                  <a:cubicBezTo>
                    <a:pt x="744227" y="1168365"/>
                    <a:pt x="739917" y="1178137"/>
                    <a:pt x="746125" y="1187450"/>
                  </a:cubicBezTo>
                  <a:cubicBezTo>
                    <a:pt x="748242" y="1190625"/>
                    <a:pt x="752475" y="1191683"/>
                    <a:pt x="755650" y="1193800"/>
                  </a:cubicBezTo>
                  <a:cubicBezTo>
                    <a:pt x="756708" y="1196975"/>
                    <a:pt x="758825" y="1199978"/>
                    <a:pt x="758825" y="1203325"/>
                  </a:cubicBezTo>
                  <a:cubicBezTo>
                    <a:pt x="758825" y="1210612"/>
                    <a:pt x="754485" y="1220365"/>
                    <a:pt x="749300" y="1225550"/>
                  </a:cubicBezTo>
                  <a:cubicBezTo>
                    <a:pt x="746602" y="1228248"/>
                    <a:pt x="742950" y="1229783"/>
                    <a:pt x="739775" y="1231900"/>
                  </a:cubicBezTo>
                  <a:cubicBezTo>
                    <a:pt x="737658" y="1235075"/>
                    <a:pt x="736968" y="1240008"/>
                    <a:pt x="733425" y="1241425"/>
                  </a:cubicBezTo>
                  <a:cubicBezTo>
                    <a:pt x="730318" y="1242668"/>
                    <a:pt x="726826" y="1239875"/>
                    <a:pt x="723900" y="1238250"/>
                  </a:cubicBezTo>
                  <a:cubicBezTo>
                    <a:pt x="717229" y="1234544"/>
                    <a:pt x="704850" y="1225550"/>
                    <a:pt x="704850" y="1225550"/>
                  </a:cubicBezTo>
                  <a:cubicBezTo>
                    <a:pt x="691092" y="1226608"/>
                    <a:pt x="677205" y="1226573"/>
                    <a:pt x="663575" y="1228725"/>
                  </a:cubicBezTo>
                  <a:cubicBezTo>
                    <a:pt x="656963" y="1229769"/>
                    <a:pt x="644525" y="1235075"/>
                    <a:pt x="644525" y="1235075"/>
                  </a:cubicBezTo>
                  <a:cubicBezTo>
                    <a:pt x="641350" y="1238250"/>
                    <a:pt x="638449" y="1241725"/>
                    <a:pt x="635000" y="1244600"/>
                  </a:cubicBezTo>
                  <a:cubicBezTo>
                    <a:pt x="632069" y="1247043"/>
                    <a:pt x="628173" y="1248252"/>
                    <a:pt x="625475" y="1250950"/>
                  </a:cubicBezTo>
                  <a:cubicBezTo>
                    <a:pt x="611114" y="1265311"/>
                    <a:pt x="628143" y="1257469"/>
                    <a:pt x="609600" y="1263650"/>
                  </a:cubicBezTo>
                  <a:cubicBezTo>
                    <a:pt x="606425" y="1265767"/>
                    <a:pt x="603488" y="1268293"/>
                    <a:pt x="600075" y="1270000"/>
                  </a:cubicBezTo>
                  <a:cubicBezTo>
                    <a:pt x="587761" y="1276157"/>
                    <a:pt x="584226" y="1272272"/>
                    <a:pt x="568325" y="1270000"/>
                  </a:cubicBezTo>
                  <a:cubicBezTo>
                    <a:pt x="567495" y="1270207"/>
                    <a:pt x="548170" y="1274694"/>
                    <a:pt x="546100" y="1276350"/>
                  </a:cubicBezTo>
                  <a:cubicBezTo>
                    <a:pt x="543120" y="1278734"/>
                    <a:pt x="541867" y="1282700"/>
                    <a:pt x="539750" y="1285875"/>
                  </a:cubicBezTo>
                  <a:cubicBezTo>
                    <a:pt x="530034" y="1283446"/>
                    <a:pt x="524834" y="1283659"/>
                    <a:pt x="517525" y="1276350"/>
                  </a:cubicBezTo>
                  <a:cubicBezTo>
                    <a:pt x="514827" y="1273652"/>
                    <a:pt x="513292" y="1270000"/>
                    <a:pt x="511175" y="1266825"/>
                  </a:cubicBezTo>
                  <a:cubicBezTo>
                    <a:pt x="514594" y="1253150"/>
                    <a:pt x="512134" y="1253732"/>
                    <a:pt x="523875" y="1244600"/>
                  </a:cubicBezTo>
                  <a:cubicBezTo>
                    <a:pt x="529899" y="1239915"/>
                    <a:pt x="542925" y="1231900"/>
                    <a:pt x="542925" y="1231900"/>
                  </a:cubicBezTo>
                  <a:cubicBezTo>
                    <a:pt x="545042" y="1228725"/>
                    <a:pt x="548648" y="1226139"/>
                    <a:pt x="549275" y="1222375"/>
                  </a:cubicBezTo>
                  <a:cubicBezTo>
                    <a:pt x="549825" y="1219074"/>
                    <a:pt x="547019" y="1216068"/>
                    <a:pt x="546100" y="1212850"/>
                  </a:cubicBezTo>
                  <a:cubicBezTo>
                    <a:pt x="544901" y="1208654"/>
                    <a:pt x="544876" y="1204053"/>
                    <a:pt x="542925" y="1200150"/>
                  </a:cubicBezTo>
                  <a:cubicBezTo>
                    <a:pt x="521090" y="1156481"/>
                    <a:pt x="535830" y="1197915"/>
                    <a:pt x="527050" y="1171575"/>
                  </a:cubicBezTo>
                  <a:cubicBezTo>
                    <a:pt x="534060" y="1143536"/>
                    <a:pt x="527152" y="1173931"/>
                    <a:pt x="533400" y="1123950"/>
                  </a:cubicBezTo>
                  <a:cubicBezTo>
                    <a:pt x="534069" y="1118595"/>
                    <a:pt x="534162" y="1112902"/>
                    <a:pt x="536575" y="1108075"/>
                  </a:cubicBezTo>
                  <a:cubicBezTo>
                    <a:pt x="538583" y="1104059"/>
                    <a:pt x="542925" y="1101725"/>
                    <a:pt x="546100" y="1098550"/>
                  </a:cubicBezTo>
                  <a:cubicBezTo>
                    <a:pt x="543605" y="1083581"/>
                    <a:pt x="543539" y="1080062"/>
                    <a:pt x="539750" y="1066800"/>
                  </a:cubicBezTo>
                  <a:cubicBezTo>
                    <a:pt x="538831" y="1063582"/>
                    <a:pt x="538942" y="1059642"/>
                    <a:pt x="536575" y="1057275"/>
                  </a:cubicBezTo>
                  <a:cubicBezTo>
                    <a:pt x="534208" y="1054908"/>
                    <a:pt x="530358" y="1054609"/>
                    <a:pt x="527050" y="1054100"/>
                  </a:cubicBezTo>
                  <a:cubicBezTo>
                    <a:pt x="516538" y="1052483"/>
                    <a:pt x="505818" y="1052503"/>
                    <a:pt x="495300" y="1050925"/>
                  </a:cubicBezTo>
                  <a:cubicBezTo>
                    <a:pt x="484626" y="1049324"/>
                    <a:pt x="463550" y="1044575"/>
                    <a:pt x="463550" y="1044575"/>
                  </a:cubicBezTo>
                  <a:cubicBezTo>
                    <a:pt x="460375" y="1042458"/>
                    <a:pt x="456538" y="1041097"/>
                    <a:pt x="454025" y="1038225"/>
                  </a:cubicBezTo>
                  <a:cubicBezTo>
                    <a:pt x="448999" y="1032482"/>
                    <a:pt x="445558" y="1025525"/>
                    <a:pt x="441325" y="1019175"/>
                  </a:cubicBezTo>
                  <a:lnTo>
                    <a:pt x="428625" y="1000125"/>
                  </a:lnTo>
                  <a:cubicBezTo>
                    <a:pt x="426134" y="996389"/>
                    <a:pt x="422549" y="993475"/>
                    <a:pt x="419100" y="990600"/>
                  </a:cubicBezTo>
                  <a:cubicBezTo>
                    <a:pt x="416169" y="988157"/>
                    <a:pt x="412988" y="985957"/>
                    <a:pt x="409575" y="984250"/>
                  </a:cubicBezTo>
                  <a:cubicBezTo>
                    <a:pt x="404500" y="981712"/>
                    <a:pt x="392097" y="979256"/>
                    <a:pt x="387350" y="977900"/>
                  </a:cubicBezTo>
                  <a:cubicBezTo>
                    <a:pt x="384132" y="976981"/>
                    <a:pt x="381000" y="975783"/>
                    <a:pt x="377825" y="974725"/>
                  </a:cubicBezTo>
                  <a:cubicBezTo>
                    <a:pt x="378883" y="987425"/>
                    <a:pt x="379316" y="1000193"/>
                    <a:pt x="381000" y="1012825"/>
                  </a:cubicBezTo>
                  <a:cubicBezTo>
                    <a:pt x="382754" y="1025977"/>
                    <a:pt x="388639" y="1019772"/>
                    <a:pt x="381000" y="1035050"/>
                  </a:cubicBezTo>
                  <a:cubicBezTo>
                    <a:pt x="377587" y="1041876"/>
                    <a:pt x="372533" y="1047750"/>
                    <a:pt x="368300" y="1054100"/>
                  </a:cubicBezTo>
                  <a:cubicBezTo>
                    <a:pt x="365365" y="1058503"/>
                    <a:pt x="360333" y="1061258"/>
                    <a:pt x="355600" y="1063625"/>
                  </a:cubicBezTo>
                  <a:lnTo>
                    <a:pt x="327025" y="1073150"/>
                  </a:lnTo>
                  <a:lnTo>
                    <a:pt x="317500" y="1076325"/>
                  </a:lnTo>
                  <a:lnTo>
                    <a:pt x="307975" y="1079500"/>
                  </a:lnTo>
                  <a:cubicBezTo>
                    <a:pt x="304800" y="1081617"/>
                    <a:pt x="301937" y="1084300"/>
                    <a:pt x="298450" y="1085850"/>
                  </a:cubicBezTo>
                  <a:cubicBezTo>
                    <a:pt x="292333" y="1088568"/>
                    <a:pt x="279400" y="1092200"/>
                    <a:pt x="279400" y="1092200"/>
                  </a:cubicBezTo>
                  <a:cubicBezTo>
                    <a:pt x="276225" y="1094317"/>
                    <a:pt x="272806" y="1096107"/>
                    <a:pt x="269875" y="1098550"/>
                  </a:cubicBezTo>
                  <a:cubicBezTo>
                    <a:pt x="261330" y="1105671"/>
                    <a:pt x="260960" y="1109920"/>
                    <a:pt x="250825" y="1114425"/>
                  </a:cubicBezTo>
                  <a:cubicBezTo>
                    <a:pt x="237642" y="1120284"/>
                    <a:pt x="229481" y="1121234"/>
                    <a:pt x="215900" y="1123950"/>
                  </a:cubicBezTo>
                  <a:cubicBezTo>
                    <a:pt x="189633" y="1122637"/>
                    <a:pt x="156766" y="1138039"/>
                    <a:pt x="146050" y="1111250"/>
                  </a:cubicBezTo>
                  <a:cubicBezTo>
                    <a:pt x="145264" y="1109285"/>
                    <a:pt x="146050" y="1107017"/>
                    <a:pt x="152400" y="11239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16" name="Freeform 15"/>
            <p:cNvSpPr/>
            <p:nvPr>
              <p:custDataLst>
                <p:tags r:id="rId4"/>
              </p:custDataLst>
            </p:nvPr>
          </p:nvSpPr>
          <p:spPr bwMode="gray">
            <a:xfrm>
              <a:off x="3014479" y="1942448"/>
              <a:ext cx="72418" cy="54842"/>
            </a:xfrm>
            <a:custGeom>
              <a:avLst/>
              <a:gdLst>
                <a:gd name="connsiteX0" fmla="*/ 47995 w 72418"/>
                <a:gd name="connsiteY0" fmla="*/ 652 h 54842"/>
                <a:gd name="connsiteX1" fmla="*/ 3545 w 72418"/>
                <a:gd name="connsiteY1" fmla="*/ 3827 h 54842"/>
                <a:gd name="connsiteX2" fmla="*/ 370 w 72418"/>
                <a:gd name="connsiteY2" fmla="*/ 13352 h 54842"/>
                <a:gd name="connsiteX3" fmla="*/ 16245 w 72418"/>
                <a:gd name="connsiteY3" fmla="*/ 38752 h 54842"/>
                <a:gd name="connsiteX4" fmla="*/ 38470 w 72418"/>
                <a:gd name="connsiteY4" fmla="*/ 54627 h 54842"/>
                <a:gd name="connsiteX5" fmla="*/ 60695 w 72418"/>
                <a:gd name="connsiteY5" fmla="*/ 29227 h 54842"/>
                <a:gd name="connsiteX6" fmla="*/ 60695 w 72418"/>
                <a:gd name="connsiteY6" fmla="*/ 10177 h 54842"/>
                <a:gd name="connsiteX7" fmla="*/ 47995 w 72418"/>
                <a:gd name="connsiteY7" fmla="*/ 7002 h 54842"/>
                <a:gd name="connsiteX8" fmla="*/ 47995 w 72418"/>
                <a:gd name="connsiteY8" fmla="*/ 652 h 5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18" h="54842">
                  <a:moveTo>
                    <a:pt x="47995" y="652"/>
                  </a:moveTo>
                  <a:cubicBezTo>
                    <a:pt x="40587" y="123"/>
                    <a:pt x="17898" y="0"/>
                    <a:pt x="3545" y="3827"/>
                  </a:cubicBezTo>
                  <a:cubicBezTo>
                    <a:pt x="311" y="4689"/>
                    <a:pt x="0" y="10026"/>
                    <a:pt x="370" y="13352"/>
                  </a:cubicBezTo>
                  <a:cubicBezTo>
                    <a:pt x="2915" y="36259"/>
                    <a:pt x="4008" y="28554"/>
                    <a:pt x="16245" y="38752"/>
                  </a:cubicBezTo>
                  <a:cubicBezTo>
                    <a:pt x="35553" y="54842"/>
                    <a:pt x="14970" y="42877"/>
                    <a:pt x="38470" y="54627"/>
                  </a:cubicBezTo>
                  <a:cubicBezTo>
                    <a:pt x="53287" y="32402"/>
                    <a:pt x="44820" y="39810"/>
                    <a:pt x="60695" y="29227"/>
                  </a:cubicBezTo>
                  <a:cubicBezTo>
                    <a:pt x="65905" y="21412"/>
                    <a:pt x="72418" y="17992"/>
                    <a:pt x="60695" y="10177"/>
                  </a:cubicBezTo>
                  <a:cubicBezTo>
                    <a:pt x="57064" y="7756"/>
                    <a:pt x="52191" y="8201"/>
                    <a:pt x="47995" y="7002"/>
                  </a:cubicBezTo>
                  <a:cubicBezTo>
                    <a:pt x="44777" y="6083"/>
                    <a:pt x="55403" y="1181"/>
                    <a:pt x="47995" y="652"/>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17" name="Freeform 16"/>
            <p:cNvSpPr/>
            <p:nvPr>
              <p:custDataLst>
                <p:tags r:id="rId5"/>
              </p:custDataLst>
            </p:nvPr>
          </p:nvSpPr>
          <p:spPr bwMode="gray">
            <a:xfrm>
              <a:off x="3103749" y="1890150"/>
              <a:ext cx="105523" cy="27550"/>
            </a:xfrm>
            <a:custGeom>
              <a:avLst/>
              <a:gdLst>
                <a:gd name="connsiteX0" fmla="*/ 3175 w 105523"/>
                <a:gd name="connsiteY0" fmla="*/ 8500 h 27550"/>
                <a:gd name="connsiteX1" fmla="*/ 22225 w 105523"/>
                <a:gd name="connsiteY1" fmla="*/ 5325 h 27550"/>
                <a:gd name="connsiteX2" fmla="*/ 34925 w 105523"/>
                <a:gd name="connsiteY2" fmla="*/ 2150 h 27550"/>
                <a:gd name="connsiteX3" fmla="*/ 69850 w 105523"/>
                <a:gd name="connsiteY3" fmla="*/ 8500 h 27550"/>
                <a:gd name="connsiteX4" fmla="*/ 98425 w 105523"/>
                <a:gd name="connsiteY4" fmla="*/ 11675 h 27550"/>
                <a:gd name="connsiteX5" fmla="*/ 104775 w 105523"/>
                <a:gd name="connsiteY5" fmla="*/ 21200 h 27550"/>
                <a:gd name="connsiteX6" fmla="*/ 95250 w 105523"/>
                <a:gd name="connsiteY6" fmla="*/ 27550 h 27550"/>
                <a:gd name="connsiteX7" fmla="*/ 19050 w 105523"/>
                <a:gd name="connsiteY7" fmla="*/ 24375 h 27550"/>
                <a:gd name="connsiteX8" fmla="*/ 3175 w 105523"/>
                <a:gd name="connsiteY8" fmla="*/ 11675 h 27550"/>
                <a:gd name="connsiteX9" fmla="*/ 3175 w 105523"/>
                <a:gd name="connsiteY9" fmla="*/ 8500 h 2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23" h="27550">
                  <a:moveTo>
                    <a:pt x="3175" y="8500"/>
                  </a:moveTo>
                  <a:cubicBezTo>
                    <a:pt x="6350" y="7442"/>
                    <a:pt x="15912" y="6588"/>
                    <a:pt x="22225" y="5325"/>
                  </a:cubicBezTo>
                  <a:cubicBezTo>
                    <a:pt x="26504" y="4469"/>
                    <a:pt x="30561" y="2150"/>
                    <a:pt x="34925" y="2150"/>
                  </a:cubicBezTo>
                  <a:cubicBezTo>
                    <a:pt x="58216" y="2150"/>
                    <a:pt x="51787" y="5721"/>
                    <a:pt x="69850" y="8500"/>
                  </a:cubicBezTo>
                  <a:cubicBezTo>
                    <a:pt x="79322" y="9957"/>
                    <a:pt x="88900" y="10617"/>
                    <a:pt x="98425" y="11675"/>
                  </a:cubicBezTo>
                  <a:cubicBezTo>
                    <a:pt x="100542" y="14850"/>
                    <a:pt x="105523" y="17458"/>
                    <a:pt x="104775" y="21200"/>
                  </a:cubicBezTo>
                  <a:cubicBezTo>
                    <a:pt x="104027" y="24942"/>
                    <a:pt x="99063" y="27409"/>
                    <a:pt x="95250" y="27550"/>
                  </a:cubicBezTo>
                  <a:lnTo>
                    <a:pt x="19050" y="24375"/>
                  </a:lnTo>
                  <a:cubicBezTo>
                    <a:pt x="15040" y="23038"/>
                    <a:pt x="966" y="20513"/>
                    <a:pt x="3175" y="11675"/>
                  </a:cubicBezTo>
                  <a:cubicBezTo>
                    <a:pt x="6094" y="0"/>
                    <a:pt x="0" y="9558"/>
                    <a:pt x="3175" y="85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18" name="Freeform 17"/>
            <p:cNvSpPr/>
            <p:nvPr>
              <p:custDataLst>
                <p:tags r:id="rId6"/>
              </p:custDataLst>
            </p:nvPr>
          </p:nvSpPr>
          <p:spPr bwMode="gray">
            <a:xfrm>
              <a:off x="3222812" y="1844675"/>
              <a:ext cx="277812" cy="57809"/>
            </a:xfrm>
            <a:custGeom>
              <a:avLst/>
              <a:gdLst>
                <a:gd name="connsiteX0" fmla="*/ 1587 w 277812"/>
                <a:gd name="connsiteY0" fmla="*/ 41275 h 57809"/>
                <a:gd name="connsiteX1" fmla="*/ 11112 w 277812"/>
                <a:gd name="connsiteY1" fmla="*/ 34925 h 57809"/>
                <a:gd name="connsiteX2" fmla="*/ 20637 w 277812"/>
                <a:gd name="connsiteY2" fmla="*/ 25400 h 57809"/>
                <a:gd name="connsiteX3" fmla="*/ 30162 w 277812"/>
                <a:gd name="connsiteY3" fmla="*/ 22225 h 57809"/>
                <a:gd name="connsiteX4" fmla="*/ 80962 w 277812"/>
                <a:gd name="connsiteY4" fmla="*/ 28575 h 57809"/>
                <a:gd name="connsiteX5" fmla="*/ 90487 w 277812"/>
                <a:gd name="connsiteY5" fmla="*/ 31750 h 57809"/>
                <a:gd name="connsiteX6" fmla="*/ 131762 w 277812"/>
                <a:gd name="connsiteY6" fmla="*/ 22225 h 57809"/>
                <a:gd name="connsiteX7" fmla="*/ 141287 w 277812"/>
                <a:gd name="connsiteY7" fmla="*/ 19050 h 57809"/>
                <a:gd name="connsiteX8" fmla="*/ 150812 w 277812"/>
                <a:gd name="connsiteY8" fmla="*/ 15875 h 57809"/>
                <a:gd name="connsiteX9" fmla="*/ 198437 w 277812"/>
                <a:gd name="connsiteY9" fmla="*/ 19050 h 57809"/>
                <a:gd name="connsiteX10" fmla="*/ 223837 w 277812"/>
                <a:gd name="connsiteY10" fmla="*/ 9525 h 57809"/>
                <a:gd name="connsiteX11" fmla="*/ 233362 w 277812"/>
                <a:gd name="connsiteY11" fmla="*/ 3175 h 57809"/>
                <a:gd name="connsiteX12" fmla="*/ 242887 w 277812"/>
                <a:gd name="connsiteY12" fmla="*/ 0 h 57809"/>
                <a:gd name="connsiteX13" fmla="*/ 277812 w 277812"/>
                <a:gd name="connsiteY13" fmla="*/ 9525 h 57809"/>
                <a:gd name="connsiteX14" fmla="*/ 239712 w 277812"/>
                <a:gd name="connsiteY14" fmla="*/ 19050 h 57809"/>
                <a:gd name="connsiteX15" fmla="*/ 214312 w 277812"/>
                <a:gd name="connsiteY15" fmla="*/ 25400 h 57809"/>
                <a:gd name="connsiteX16" fmla="*/ 188912 w 277812"/>
                <a:gd name="connsiteY16" fmla="*/ 22225 h 57809"/>
                <a:gd name="connsiteX17" fmla="*/ 179387 w 277812"/>
                <a:gd name="connsiteY17" fmla="*/ 19050 h 57809"/>
                <a:gd name="connsiteX18" fmla="*/ 160337 w 277812"/>
                <a:gd name="connsiteY18" fmla="*/ 22225 h 57809"/>
                <a:gd name="connsiteX19" fmla="*/ 138112 w 277812"/>
                <a:gd name="connsiteY19" fmla="*/ 28575 h 57809"/>
                <a:gd name="connsiteX20" fmla="*/ 115887 w 277812"/>
                <a:gd name="connsiteY20" fmla="*/ 38100 h 57809"/>
                <a:gd name="connsiteX21" fmla="*/ 84137 w 277812"/>
                <a:gd name="connsiteY21" fmla="*/ 31750 h 57809"/>
                <a:gd name="connsiteX22" fmla="*/ 55562 w 277812"/>
                <a:gd name="connsiteY22" fmla="*/ 34925 h 57809"/>
                <a:gd name="connsiteX23" fmla="*/ 20637 w 277812"/>
                <a:gd name="connsiteY23" fmla="*/ 41275 h 57809"/>
                <a:gd name="connsiteX24" fmla="*/ 4762 w 277812"/>
                <a:gd name="connsiteY24" fmla="*/ 53975 h 57809"/>
                <a:gd name="connsiteX25" fmla="*/ 1587 w 277812"/>
                <a:gd name="connsiteY25" fmla="*/ 44450 h 57809"/>
                <a:gd name="connsiteX26" fmla="*/ 1587 w 277812"/>
                <a:gd name="connsiteY26" fmla="*/ 41275 h 5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812" h="57809">
                  <a:moveTo>
                    <a:pt x="1587" y="41275"/>
                  </a:moveTo>
                  <a:cubicBezTo>
                    <a:pt x="3174" y="39688"/>
                    <a:pt x="8181" y="37368"/>
                    <a:pt x="11112" y="34925"/>
                  </a:cubicBezTo>
                  <a:cubicBezTo>
                    <a:pt x="14561" y="32050"/>
                    <a:pt x="16901" y="27891"/>
                    <a:pt x="20637" y="25400"/>
                  </a:cubicBezTo>
                  <a:cubicBezTo>
                    <a:pt x="23422" y="23544"/>
                    <a:pt x="26987" y="23283"/>
                    <a:pt x="30162" y="22225"/>
                  </a:cubicBezTo>
                  <a:cubicBezTo>
                    <a:pt x="46132" y="23822"/>
                    <a:pt x="64849" y="24994"/>
                    <a:pt x="80962" y="28575"/>
                  </a:cubicBezTo>
                  <a:cubicBezTo>
                    <a:pt x="84229" y="29301"/>
                    <a:pt x="87312" y="30692"/>
                    <a:pt x="90487" y="31750"/>
                  </a:cubicBezTo>
                  <a:cubicBezTo>
                    <a:pt x="119338" y="27628"/>
                    <a:pt x="105612" y="30942"/>
                    <a:pt x="131762" y="22225"/>
                  </a:cubicBezTo>
                  <a:lnTo>
                    <a:pt x="141287" y="19050"/>
                  </a:lnTo>
                  <a:lnTo>
                    <a:pt x="150812" y="15875"/>
                  </a:lnTo>
                  <a:cubicBezTo>
                    <a:pt x="166687" y="16933"/>
                    <a:pt x="182527" y="19050"/>
                    <a:pt x="198437" y="19050"/>
                  </a:cubicBezTo>
                  <a:cubicBezTo>
                    <a:pt x="206250" y="19050"/>
                    <a:pt x="217515" y="13138"/>
                    <a:pt x="223837" y="9525"/>
                  </a:cubicBezTo>
                  <a:cubicBezTo>
                    <a:pt x="227150" y="7632"/>
                    <a:pt x="229949" y="4882"/>
                    <a:pt x="233362" y="3175"/>
                  </a:cubicBezTo>
                  <a:cubicBezTo>
                    <a:pt x="236355" y="1678"/>
                    <a:pt x="239712" y="1058"/>
                    <a:pt x="242887" y="0"/>
                  </a:cubicBezTo>
                  <a:cubicBezTo>
                    <a:pt x="271534" y="7162"/>
                    <a:pt x="260008" y="3590"/>
                    <a:pt x="277812" y="9525"/>
                  </a:cubicBezTo>
                  <a:cubicBezTo>
                    <a:pt x="259532" y="21712"/>
                    <a:pt x="274041" y="14146"/>
                    <a:pt x="239712" y="19050"/>
                  </a:cubicBezTo>
                  <a:cubicBezTo>
                    <a:pt x="226302" y="20966"/>
                    <a:pt x="225392" y="21707"/>
                    <a:pt x="214312" y="25400"/>
                  </a:cubicBezTo>
                  <a:cubicBezTo>
                    <a:pt x="205845" y="24342"/>
                    <a:pt x="197307" y="23751"/>
                    <a:pt x="188912" y="22225"/>
                  </a:cubicBezTo>
                  <a:cubicBezTo>
                    <a:pt x="185619" y="21626"/>
                    <a:pt x="182734" y="19050"/>
                    <a:pt x="179387" y="19050"/>
                  </a:cubicBezTo>
                  <a:cubicBezTo>
                    <a:pt x="172949" y="19050"/>
                    <a:pt x="166650" y="20962"/>
                    <a:pt x="160337" y="22225"/>
                  </a:cubicBezTo>
                  <a:cubicBezTo>
                    <a:pt x="150370" y="24218"/>
                    <a:pt x="147190" y="25549"/>
                    <a:pt x="138112" y="28575"/>
                  </a:cubicBezTo>
                  <a:cubicBezTo>
                    <a:pt x="131202" y="33181"/>
                    <a:pt x="125146" y="38761"/>
                    <a:pt x="115887" y="38100"/>
                  </a:cubicBezTo>
                  <a:cubicBezTo>
                    <a:pt x="105122" y="37331"/>
                    <a:pt x="84137" y="31750"/>
                    <a:pt x="84137" y="31750"/>
                  </a:cubicBezTo>
                  <a:cubicBezTo>
                    <a:pt x="74612" y="32808"/>
                    <a:pt x="65062" y="33658"/>
                    <a:pt x="55562" y="34925"/>
                  </a:cubicBezTo>
                  <a:cubicBezTo>
                    <a:pt x="43375" y="36550"/>
                    <a:pt x="32609" y="38881"/>
                    <a:pt x="20637" y="41275"/>
                  </a:cubicBezTo>
                  <a:cubicBezTo>
                    <a:pt x="18675" y="44217"/>
                    <a:pt x="12430" y="57809"/>
                    <a:pt x="4762" y="53975"/>
                  </a:cubicBezTo>
                  <a:cubicBezTo>
                    <a:pt x="1769" y="52478"/>
                    <a:pt x="2399" y="47697"/>
                    <a:pt x="1587" y="44450"/>
                  </a:cubicBezTo>
                  <a:cubicBezTo>
                    <a:pt x="1330" y="43423"/>
                    <a:pt x="0" y="42862"/>
                    <a:pt x="1587" y="412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19" name="Freeform 18"/>
            <p:cNvSpPr/>
            <p:nvPr>
              <p:custDataLst>
                <p:tags r:id="rId7"/>
              </p:custDataLst>
            </p:nvPr>
          </p:nvSpPr>
          <p:spPr bwMode="gray">
            <a:xfrm>
              <a:off x="3519706" y="1828250"/>
              <a:ext cx="78535" cy="48175"/>
            </a:xfrm>
            <a:custGeom>
              <a:avLst/>
              <a:gdLst>
                <a:gd name="connsiteX0" fmla="*/ 3143 w 78535"/>
                <a:gd name="connsiteY0" fmla="*/ 6900 h 48175"/>
                <a:gd name="connsiteX1" fmla="*/ 22193 w 78535"/>
                <a:gd name="connsiteY1" fmla="*/ 3725 h 48175"/>
                <a:gd name="connsiteX2" fmla="*/ 31718 w 78535"/>
                <a:gd name="connsiteY2" fmla="*/ 550 h 48175"/>
                <a:gd name="connsiteX3" fmla="*/ 41243 w 78535"/>
                <a:gd name="connsiteY3" fmla="*/ 6900 h 48175"/>
                <a:gd name="connsiteX4" fmla="*/ 53943 w 78535"/>
                <a:gd name="connsiteY4" fmla="*/ 25950 h 48175"/>
                <a:gd name="connsiteX5" fmla="*/ 72993 w 78535"/>
                <a:gd name="connsiteY5" fmla="*/ 32300 h 48175"/>
                <a:gd name="connsiteX6" fmla="*/ 76168 w 78535"/>
                <a:gd name="connsiteY6" fmla="*/ 41825 h 48175"/>
                <a:gd name="connsiteX7" fmla="*/ 57118 w 78535"/>
                <a:gd name="connsiteY7" fmla="*/ 48175 h 48175"/>
                <a:gd name="connsiteX8" fmla="*/ 44418 w 78535"/>
                <a:gd name="connsiteY8" fmla="*/ 35475 h 48175"/>
                <a:gd name="connsiteX9" fmla="*/ 25368 w 78535"/>
                <a:gd name="connsiteY9" fmla="*/ 19600 h 48175"/>
                <a:gd name="connsiteX10" fmla="*/ 3143 w 78535"/>
                <a:gd name="connsiteY10" fmla="*/ 690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35" h="48175">
                  <a:moveTo>
                    <a:pt x="3143" y="6900"/>
                  </a:moveTo>
                  <a:cubicBezTo>
                    <a:pt x="2614" y="4254"/>
                    <a:pt x="15909" y="5122"/>
                    <a:pt x="22193" y="3725"/>
                  </a:cubicBezTo>
                  <a:cubicBezTo>
                    <a:pt x="25460" y="2999"/>
                    <a:pt x="28417" y="0"/>
                    <a:pt x="31718" y="550"/>
                  </a:cubicBezTo>
                  <a:cubicBezTo>
                    <a:pt x="35482" y="1177"/>
                    <a:pt x="38068" y="4783"/>
                    <a:pt x="41243" y="6900"/>
                  </a:cubicBezTo>
                  <a:cubicBezTo>
                    <a:pt x="44226" y="15850"/>
                    <a:pt x="44214" y="20545"/>
                    <a:pt x="53943" y="25950"/>
                  </a:cubicBezTo>
                  <a:cubicBezTo>
                    <a:pt x="59794" y="29201"/>
                    <a:pt x="72993" y="32300"/>
                    <a:pt x="72993" y="32300"/>
                  </a:cubicBezTo>
                  <a:cubicBezTo>
                    <a:pt x="74051" y="35475"/>
                    <a:pt x="78535" y="39458"/>
                    <a:pt x="76168" y="41825"/>
                  </a:cubicBezTo>
                  <a:cubicBezTo>
                    <a:pt x="71435" y="46558"/>
                    <a:pt x="57118" y="48175"/>
                    <a:pt x="57118" y="48175"/>
                  </a:cubicBezTo>
                  <a:cubicBezTo>
                    <a:pt x="51070" y="30032"/>
                    <a:pt x="58932" y="45151"/>
                    <a:pt x="44418" y="35475"/>
                  </a:cubicBezTo>
                  <a:cubicBezTo>
                    <a:pt x="36687" y="30321"/>
                    <a:pt x="34811" y="22433"/>
                    <a:pt x="25368" y="19600"/>
                  </a:cubicBezTo>
                  <a:cubicBezTo>
                    <a:pt x="0" y="11990"/>
                    <a:pt x="3672" y="9546"/>
                    <a:pt x="3143" y="69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0" name="Freeform 19"/>
            <p:cNvSpPr/>
            <p:nvPr>
              <p:custDataLst>
                <p:tags r:id="rId8"/>
              </p:custDataLst>
            </p:nvPr>
          </p:nvSpPr>
          <p:spPr bwMode="gray">
            <a:xfrm>
              <a:off x="3827385" y="1099212"/>
              <a:ext cx="1048488" cy="1100441"/>
            </a:xfrm>
            <a:custGeom>
              <a:avLst/>
              <a:gdLst>
                <a:gd name="connsiteX0" fmla="*/ 178064 w 1048488"/>
                <a:gd name="connsiteY0" fmla="*/ 724826 h 1100441"/>
                <a:gd name="connsiteX1" fmla="*/ 154252 w 1048488"/>
                <a:gd name="connsiteY1" fmla="*/ 705776 h 1100441"/>
                <a:gd name="connsiteX2" fmla="*/ 125677 w 1048488"/>
                <a:gd name="connsiteY2" fmla="*/ 686726 h 1100441"/>
                <a:gd name="connsiteX3" fmla="*/ 116152 w 1048488"/>
                <a:gd name="connsiteY3" fmla="*/ 672438 h 1100441"/>
                <a:gd name="connsiteX4" fmla="*/ 116152 w 1048488"/>
                <a:gd name="connsiteY4" fmla="*/ 620051 h 1100441"/>
                <a:gd name="connsiteX5" fmla="*/ 130439 w 1048488"/>
                <a:gd name="connsiteY5" fmla="*/ 615288 h 1100441"/>
                <a:gd name="connsiteX6" fmla="*/ 159014 w 1048488"/>
                <a:gd name="connsiteY6" fmla="*/ 620051 h 1100441"/>
                <a:gd name="connsiteX7" fmla="*/ 168539 w 1048488"/>
                <a:gd name="connsiteY7" fmla="*/ 596238 h 1100441"/>
                <a:gd name="connsiteX8" fmla="*/ 154252 w 1048488"/>
                <a:gd name="connsiteY8" fmla="*/ 581951 h 1100441"/>
                <a:gd name="connsiteX9" fmla="*/ 135202 w 1048488"/>
                <a:gd name="connsiteY9" fmla="*/ 558138 h 1100441"/>
                <a:gd name="connsiteX10" fmla="*/ 106627 w 1048488"/>
                <a:gd name="connsiteY10" fmla="*/ 548613 h 1100441"/>
                <a:gd name="connsiteX11" fmla="*/ 111389 w 1048488"/>
                <a:gd name="connsiteY11" fmla="*/ 486701 h 1100441"/>
                <a:gd name="connsiteX12" fmla="*/ 111389 w 1048488"/>
                <a:gd name="connsiteY12" fmla="*/ 453363 h 1100441"/>
                <a:gd name="connsiteX13" fmla="*/ 97102 w 1048488"/>
                <a:gd name="connsiteY13" fmla="*/ 443838 h 1100441"/>
                <a:gd name="connsiteX14" fmla="*/ 63764 w 1048488"/>
                <a:gd name="connsiteY14" fmla="*/ 448601 h 1100441"/>
                <a:gd name="connsiteX15" fmla="*/ 35189 w 1048488"/>
                <a:gd name="connsiteY15" fmla="*/ 458126 h 1100441"/>
                <a:gd name="connsiteX16" fmla="*/ 20902 w 1048488"/>
                <a:gd name="connsiteY16" fmla="*/ 448601 h 1100441"/>
                <a:gd name="connsiteX17" fmla="*/ 16139 w 1048488"/>
                <a:gd name="connsiteY17" fmla="*/ 396213 h 1100441"/>
                <a:gd name="connsiteX18" fmla="*/ 59002 w 1048488"/>
                <a:gd name="connsiteY18" fmla="*/ 391451 h 1100441"/>
                <a:gd name="connsiteX19" fmla="*/ 54239 w 1048488"/>
                <a:gd name="connsiteY19" fmla="*/ 372401 h 1100441"/>
                <a:gd name="connsiteX20" fmla="*/ 68527 w 1048488"/>
                <a:gd name="connsiteY20" fmla="*/ 362876 h 1100441"/>
                <a:gd name="connsiteX21" fmla="*/ 144727 w 1048488"/>
                <a:gd name="connsiteY21" fmla="*/ 358113 h 1100441"/>
                <a:gd name="connsiteX22" fmla="*/ 168539 w 1048488"/>
                <a:gd name="connsiteY22" fmla="*/ 329538 h 1100441"/>
                <a:gd name="connsiteX23" fmla="*/ 178064 w 1048488"/>
                <a:gd name="connsiteY23" fmla="*/ 300963 h 1100441"/>
                <a:gd name="connsiteX24" fmla="*/ 173302 w 1048488"/>
                <a:gd name="connsiteY24" fmla="*/ 267626 h 1100441"/>
                <a:gd name="connsiteX25" fmla="*/ 149489 w 1048488"/>
                <a:gd name="connsiteY25" fmla="*/ 239051 h 1100441"/>
                <a:gd name="connsiteX26" fmla="*/ 125677 w 1048488"/>
                <a:gd name="connsiteY26" fmla="*/ 215238 h 1100441"/>
                <a:gd name="connsiteX27" fmla="*/ 116152 w 1048488"/>
                <a:gd name="connsiteY27" fmla="*/ 200951 h 1100441"/>
                <a:gd name="connsiteX28" fmla="*/ 101864 w 1048488"/>
                <a:gd name="connsiteY28" fmla="*/ 186663 h 1100441"/>
                <a:gd name="connsiteX29" fmla="*/ 97102 w 1048488"/>
                <a:gd name="connsiteY29" fmla="*/ 172376 h 1100441"/>
                <a:gd name="connsiteX30" fmla="*/ 73289 w 1048488"/>
                <a:gd name="connsiteY30" fmla="*/ 148563 h 1100441"/>
                <a:gd name="connsiteX31" fmla="*/ 63764 w 1048488"/>
                <a:gd name="connsiteY31" fmla="*/ 119988 h 1100441"/>
                <a:gd name="connsiteX32" fmla="*/ 54239 w 1048488"/>
                <a:gd name="connsiteY32" fmla="*/ 81888 h 1100441"/>
                <a:gd name="connsiteX33" fmla="*/ 39952 w 1048488"/>
                <a:gd name="connsiteY33" fmla="*/ 67601 h 1100441"/>
                <a:gd name="connsiteX34" fmla="*/ 30427 w 1048488"/>
                <a:gd name="connsiteY34" fmla="*/ 53313 h 1100441"/>
                <a:gd name="connsiteX35" fmla="*/ 49477 w 1048488"/>
                <a:gd name="connsiteY35" fmla="*/ 926 h 1100441"/>
                <a:gd name="connsiteX36" fmla="*/ 68527 w 1048488"/>
                <a:gd name="connsiteY36" fmla="*/ 5688 h 1100441"/>
                <a:gd name="connsiteX37" fmla="*/ 120914 w 1048488"/>
                <a:gd name="connsiteY37" fmla="*/ 10451 h 1100441"/>
                <a:gd name="connsiteX38" fmla="*/ 159014 w 1048488"/>
                <a:gd name="connsiteY38" fmla="*/ 15213 h 1100441"/>
                <a:gd name="connsiteX39" fmla="*/ 187589 w 1048488"/>
                <a:gd name="connsiteY39" fmla="*/ 24738 h 1100441"/>
                <a:gd name="connsiteX40" fmla="*/ 201877 w 1048488"/>
                <a:gd name="connsiteY40" fmla="*/ 34263 h 1100441"/>
                <a:gd name="connsiteX41" fmla="*/ 268552 w 1048488"/>
                <a:gd name="connsiteY41" fmla="*/ 43788 h 1100441"/>
                <a:gd name="connsiteX42" fmla="*/ 282839 w 1048488"/>
                <a:gd name="connsiteY42" fmla="*/ 53313 h 1100441"/>
                <a:gd name="connsiteX43" fmla="*/ 287602 w 1048488"/>
                <a:gd name="connsiteY43" fmla="*/ 67601 h 1100441"/>
                <a:gd name="connsiteX44" fmla="*/ 297127 w 1048488"/>
                <a:gd name="connsiteY44" fmla="*/ 81888 h 1100441"/>
                <a:gd name="connsiteX45" fmla="*/ 330464 w 1048488"/>
                <a:gd name="connsiteY45" fmla="*/ 77126 h 1100441"/>
                <a:gd name="connsiteX46" fmla="*/ 339989 w 1048488"/>
                <a:gd name="connsiteY46" fmla="*/ 62838 h 1100441"/>
                <a:gd name="connsiteX47" fmla="*/ 373327 w 1048488"/>
                <a:gd name="connsiteY47" fmla="*/ 58076 h 1100441"/>
                <a:gd name="connsiteX48" fmla="*/ 387614 w 1048488"/>
                <a:gd name="connsiteY48" fmla="*/ 48551 h 1100441"/>
                <a:gd name="connsiteX49" fmla="*/ 401902 w 1048488"/>
                <a:gd name="connsiteY49" fmla="*/ 34263 h 1100441"/>
                <a:gd name="connsiteX50" fmla="*/ 430477 w 1048488"/>
                <a:gd name="connsiteY50" fmla="*/ 24738 h 1100441"/>
                <a:gd name="connsiteX51" fmla="*/ 440002 w 1048488"/>
                <a:gd name="connsiteY51" fmla="*/ 39026 h 1100441"/>
                <a:gd name="connsiteX52" fmla="*/ 444764 w 1048488"/>
                <a:gd name="connsiteY52" fmla="*/ 58076 h 1100441"/>
                <a:gd name="connsiteX53" fmla="*/ 459052 w 1048488"/>
                <a:gd name="connsiteY53" fmla="*/ 62838 h 1100441"/>
                <a:gd name="connsiteX54" fmla="*/ 468577 w 1048488"/>
                <a:gd name="connsiteY54" fmla="*/ 77126 h 1100441"/>
                <a:gd name="connsiteX55" fmla="*/ 482864 w 1048488"/>
                <a:gd name="connsiteY55" fmla="*/ 81888 h 1100441"/>
                <a:gd name="connsiteX56" fmla="*/ 511439 w 1048488"/>
                <a:gd name="connsiteY56" fmla="*/ 96176 h 1100441"/>
                <a:gd name="connsiteX57" fmla="*/ 535252 w 1048488"/>
                <a:gd name="connsiteY57" fmla="*/ 119988 h 1100441"/>
                <a:gd name="connsiteX58" fmla="*/ 544777 w 1048488"/>
                <a:gd name="connsiteY58" fmla="*/ 105701 h 1100441"/>
                <a:gd name="connsiteX59" fmla="*/ 559064 w 1048488"/>
                <a:gd name="connsiteY59" fmla="*/ 96176 h 1100441"/>
                <a:gd name="connsiteX60" fmla="*/ 573352 w 1048488"/>
                <a:gd name="connsiteY60" fmla="*/ 100938 h 1100441"/>
                <a:gd name="connsiteX61" fmla="*/ 582877 w 1048488"/>
                <a:gd name="connsiteY61" fmla="*/ 115226 h 1100441"/>
                <a:gd name="connsiteX62" fmla="*/ 592402 w 1048488"/>
                <a:gd name="connsiteY62" fmla="*/ 148563 h 1100441"/>
                <a:gd name="connsiteX63" fmla="*/ 597164 w 1048488"/>
                <a:gd name="connsiteY63" fmla="*/ 162851 h 1100441"/>
                <a:gd name="connsiteX64" fmla="*/ 606689 w 1048488"/>
                <a:gd name="connsiteY64" fmla="*/ 220001 h 1100441"/>
                <a:gd name="connsiteX65" fmla="*/ 601927 w 1048488"/>
                <a:gd name="connsiteY65" fmla="*/ 253338 h 1100441"/>
                <a:gd name="connsiteX66" fmla="*/ 582877 w 1048488"/>
                <a:gd name="connsiteY66" fmla="*/ 281913 h 1100441"/>
                <a:gd name="connsiteX67" fmla="*/ 573352 w 1048488"/>
                <a:gd name="connsiteY67" fmla="*/ 296201 h 1100441"/>
                <a:gd name="connsiteX68" fmla="*/ 544777 w 1048488"/>
                <a:gd name="connsiteY68" fmla="*/ 305726 h 1100441"/>
                <a:gd name="connsiteX69" fmla="*/ 530489 w 1048488"/>
                <a:gd name="connsiteY69" fmla="*/ 315251 h 1100441"/>
                <a:gd name="connsiteX70" fmla="*/ 525727 w 1048488"/>
                <a:gd name="connsiteY70" fmla="*/ 329538 h 1100441"/>
                <a:gd name="connsiteX71" fmla="*/ 563827 w 1048488"/>
                <a:gd name="connsiteY71" fmla="*/ 329538 h 1100441"/>
                <a:gd name="connsiteX72" fmla="*/ 578114 w 1048488"/>
                <a:gd name="connsiteY72" fmla="*/ 320013 h 1100441"/>
                <a:gd name="connsiteX73" fmla="*/ 606689 w 1048488"/>
                <a:gd name="connsiteY73" fmla="*/ 310488 h 1100441"/>
                <a:gd name="connsiteX74" fmla="*/ 649552 w 1048488"/>
                <a:gd name="connsiteY74" fmla="*/ 315251 h 1100441"/>
                <a:gd name="connsiteX75" fmla="*/ 659077 w 1048488"/>
                <a:gd name="connsiteY75" fmla="*/ 329538 h 1100441"/>
                <a:gd name="connsiteX76" fmla="*/ 668602 w 1048488"/>
                <a:gd name="connsiteY76" fmla="*/ 367638 h 1100441"/>
                <a:gd name="connsiteX77" fmla="*/ 682889 w 1048488"/>
                <a:gd name="connsiteY77" fmla="*/ 358113 h 1100441"/>
                <a:gd name="connsiteX78" fmla="*/ 711464 w 1048488"/>
                <a:gd name="connsiteY78" fmla="*/ 343826 h 1100441"/>
                <a:gd name="connsiteX79" fmla="*/ 749564 w 1048488"/>
                <a:gd name="connsiteY79" fmla="*/ 348588 h 1100441"/>
                <a:gd name="connsiteX80" fmla="*/ 778139 w 1048488"/>
                <a:gd name="connsiteY80" fmla="*/ 367638 h 1100441"/>
                <a:gd name="connsiteX81" fmla="*/ 792427 w 1048488"/>
                <a:gd name="connsiteY81" fmla="*/ 377163 h 1100441"/>
                <a:gd name="connsiteX82" fmla="*/ 806714 w 1048488"/>
                <a:gd name="connsiteY82" fmla="*/ 391451 h 1100441"/>
                <a:gd name="connsiteX83" fmla="*/ 840052 w 1048488"/>
                <a:gd name="connsiteY83" fmla="*/ 405738 h 1100441"/>
                <a:gd name="connsiteX84" fmla="*/ 868627 w 1048488"/>
                <a:gd name="connsiteY84" fmla="*/ 424788 h 1100441"/>
                <a:gd name="connsiteX85" fmla="*/ 882914 w 1048488"/>
                <a:gd name="connsiteY85" fmla="*/ 434313 h 1100441"/>
                <a:gd name="connsiteX86" fmla="*/ 897202 w 1048488"/>
                <a:gd name="connsiteY86" fmla="*/ 439076 h 1100441"/>
                <a:gd name="connsiteX87" fmla="*/ 925777 w 1048488"/>
                <a:gd name="connsiteY87" fmla="*/ 424788 h 1100441"/>
                <a:gd name="connsiteX88" fmla="*/ 935302 w 1048488"/>
                <a:gd name="connsiteY88" fmla="*/ 410501 h 1100441"/>
                <a:gd name="connsiteX89" fmla="*/ 963877 w 1048488"/>
                <a:gd name="connsiteY89" fmla="*/ 391451 h 1100441"/>
                <a:gd name="connsiteX90" fmla="*/ 992452 w 1048488"/>
                <a:gd name="connsiteY90" fmla="*/ 377163 h 1100441"/>
                <a:gd name="connsiteX91" fmla="*/ 1016264 w 1048488"/>
                <a:gd name="connsiteY91" fmla="*/ 381926 h 1100441"/>
                <a:gd name="connsiteX92" fmla="*/ 1030552 w 1048488"/>
                <a:gd name="connsiteY92" fmla="*/ 386688 h 1100441"/>
                <a:gd name="connsiteX93" fmla="*/ 1035314 w 1048488"/>
                <a:gd name="connsiteY93" fmla="*/ 400976 h 1100441"/>
                <a:gd name="connsiteX94" fmla="*/ 1040077 w 1048488"/>
                <a:gd name="connsiteY94" fmla="*/ 448601 h 1100441"/>
                <a:gd name="connsiteX95" fmla="*/ 1040077 w 1048488"/>
                <a:gd name="connsiteY95" fmla="*/ 515276 h 1100441"/>
                <a:gd name="connsiteX96" fmla="*/ 1035314 w 1048488"/>
                <a:gd name="connsiteY96" fmla="*/ 529563 h 1100441"/>
                <a:gd name="connsiteX97" fmla="*/ 1006739 w 1048488"/>
                <a:gd name="connsiteY97" fmla="*/ 553376 h 1100441"/>
                <a:gd name="connsiteX98" fmla="*/ 997214 w 1048488"/>
                <a:gd name="connsiteY98" fmla="*/ 567663 h 1100441"/>
                <a:gd name="connsiteX99" fmla="*/ 954352 w 1048488"/>
                <a:gd name="connsiteY99" fmla="*/ 591476 h 1100441"/>
                <a:gd name="connsiteX100" fmla="*/ 925777 w 1048488"/>
                <a:gd name="connsiteY100" fmla="*/ 572426 h 1100441"/>
                <a:gd name="connsiteX101" fmla="*/ 916252 w 1048488"/>
                <a:gd name="connsiteY101" fmla="*/ 601001 h 1100441"/>
                <a:gd name="connsiteX102" fmla="*/ 921014 w 1048488"/>
                <a:gd name="connsiteY102" fmla="*/ 639101 h 1100441"/>
                <a:gd name="connsiteX103" fmla="*/ 935302 w 1048488"/>
                <a:gd name="connsiteY103" fmla="*/ 643863 h 1100441"/>
                <a:gd name="connsiteX104" fmla="*/ 963877 w 1048488"/>
                <a:gd name="connsiteY104" fmla="*/ 667676 h 1100441"/>
                <a:gd name="connsiteX105" fmla="*/ 949589 w 1048488"/>
                <a:gd name="connsiteY105" fmla="*/ 710538 h 1100441"/>
                <a:gd name="connsiteX106" fmla="*/ 921014 w 1048488"/>
                <a:gd name="connsiteY106" fmla="*/ 729588 h 1100441"/>
                <a:gd name="connsiteX107" fmla="*/ 916252 w 1048488"/>
                <a:gd name="connsiteY107" fmla="*/ 743876 h 1100441"/>
                <a:gd name="connsiteX108" fmla="*/ 901964 w 1048488"/>
                <a:gd name="connsiteY108" fmla="*/ 772451 h 1100441"/>
                <a:gd name="connsiteX109" fmla="*/ 906727 w 1048488"/>
                <a:gd name="connsiteY109" fmla="*/ 801026 h 1100441"/>
                <a:gd name="connsiteX110" fmla="*/ 911489 w 1048488"/>
                <a:gd name="connsiteY110" fmla="*/ 820076 h 1100441"/>
                <a:gd name="connsiteX111" fmla="*/ 916252 w 1048488"/>
                <a:gd name="connsiteY111" fmla="*/ 848651 h 1100441"/>
                <a:gd name="connsiteX112" fmla="*/ 968639 w 1048488"/>
                <a:gd name="connsiteY112" fmla="*/ 862938 h 1100441"/>
                <a:gd name="connsiteX113" fmla="*/ 982927 w 1048488"/>
                <a:gd name="connsiteY113" fmla="*/ 872463 h 1100441"/>
                <a:gd name="connsiteX114" fmla="*/ 978164 w 1048488"/>
                <a:gd name="connsiteY114" fmla="*/ 915326 h 1100441"/>
                <a:gd name="connsiteX115" fmla="*/ 968639 w 1048488"/>
                <a:gd name="connsiteY115" fmla="*/ 943901 h 1100441"/>
                <a:gd name="connsiteX116" fmla="*/ 954352 w 1048488"/>
                <a:gd name="connsiteY116" fmla="*/ 953426 h 1100441"/>
                <a:gd name="connsiteX117" fmla="*/ 935302 w 1048488"/>
                <a:gd name="connsiteY117" fmla="*/ 977238 h 1100441"/>
                <a:gd name="connsiteX118" fmla="*/ 906727 w 1048488"/>
                <a:gd name="connsiteY118" fmla="*/ 1005813 h 1100441"/>
                <a:gd name="connsiteX119" fmla="*/ 897202 w 1048488"/>
                <a:gd name="connsiteY119" fmla="*/ 1020101 h 1100441"/>
                <a:gd name="connsiteX120" fmla="*/ 868627 w 1048488"/>
                <a:gd name="connsiteY120" fmla="*/ 1043913 h 1100441"/>
                <a:gd name="connsiteX121" fmla="*/ 849577 w 1048488"/>
                <a:gd name="connsiteY121" fmla="*/ 1072488 h 1100441"/>
                <a:gd name="connsiteX122" fmla="*/ 844814 w 1048488"/>
                <a:gd name="connsiteY122" fmla="*/ 1086776 h 1100441"/>
                <a:gd name="connsiteX123" fmla="*/ 830527 w 1048488"/>
                <a:gd name="connsiteY123" fmla="*/ 1096301 h 1100441"/>
                <a:gd name="connsiteX124" fmla="*/ 797189 w 1048488"/>
                <a:gd name="connsiteY124" fmla="*/ 1086776 h 1100441"/>
                <a:gd name="connsiteX125" fmla="*/ 754327 w 1048488"/>
                <a:gd name="connsiteY125" fmla="*/ 1077251 h 1100441"/>
                <a:gd name="connsiteX126" fmla="*/ 725752 w 1048488"/>
                <a:gd name="connsiteY126" fmla="*/ 1053438 h 1100441"/>
                <a:gd name="connsiteX127" fmla="*/ 711464 w 1048488"/>
                <a:gd name="connsiteY127" fmla="*/ 1048676 h 1100441"/>
                <a:gd name="connsiteX128" fmla="*/ 701939 w 1048488"/>
                <a:gd name="connsiteY128" fmla="*/ 1034388 h 1100441"/>
                <a:gd name="connsiteX129" fmla="*/ 697177 w 1048488"/>
                <a:gd name="connsiteY129" fmla="*/ 1020101 h 1100441"/>
                <a:gd name="connsiteX130" fmla="*/ 678127 w 1048488"/>
                <a:gd name="connsiteY130" fmla="*/ 991526 h 1100441"/>
                <a:gd name="connsiteX131" fmla="*/ 668602 w 1048488"/>
                <a:gd name="connsiteY131" fmla="*/ 977238 h 1100441"/>
                <a:gd name="connsiteX132" fmla="*/ 659077 w 1048488"/>
                <a:gd name="connsiteY132" fmla="*/ 962951 h 1100441"/>
                <a:gd name="connsiteX133" fmla="*/ 682889 w 1048488"/>
                <a:gd name="connsiteY133" fmla="*/ 920088 h 1100441"/>
                <a:gd name="connsiteX134" fmla="*/ 678127 w 1048488"/>
                <a:gd name="connsiteY134" fmla="*/ 896276 h 1100441"/>
                <a:gd name="connsiteX135" fmla="*/ 673364 w 1048488"/>
                <a:gd name="connsiteY135" fmla="*/ 881988 h 1100441"/>
                <a:gd name="connsiteX136" fmla="*/ 668602 w 1048488"/>
                <a:gd name="connsiteY136" fmla="*/ 839126 h 1100441"/>
                <a:gd name="connsiteX137" fmla="*/ 654314 w 1048488"/>
                <a:gd name="connsiteY137" fmla="*/ 834363 h 1100441"/>
                <a:gd name="connsiteX138" fmla="*/ 625739 w 1048488"/>
                <a:gd name="connsiteY138" fmla="*/ 848651 h 1100441"/>
                <a:gd name="connsiteX139" fmla="*/ 616214 w 1048488"/>
                <a:gd name="connsiteY139" fmla="*/ 862938 h 1100441"/>
                <a:gd name="connsiteX140" fmla="*/ 611452 w 1048488"/>
                <a:gd name="connsiteY140" fmla="*/ 877226 h 1100441"/>
                <a:gd name="connsiteX141" fmla="*/ 597164 w 1048488"/>
                <a:gd name="connsiteY141" fmla="*/ 886751 h 1100441"/>
                <a:gd name="connsiteX142" fmla="*/ 549539 w 1048488"/>
                <a:gd name="connsiteY142" fmla="*/ 896276 h 1100441"/>
                <a:gd name="connsiteX143" fmla="*/ 544777 w 1048488"/>
                <a:gd name="connsiteY143" fmla="*/ 910563 h 1100441"/>
                <a:gd name="connsiteX144" fmla="*/ 540014 w 1048488"/>
                <a:gd name="connsiteY144" fmla="*/ 929613 h 1100441"/>
                <a:gd name="connsiteX145" fmla="*/ 525727 w 1048488"/>
                <a:gd name="connsiteY145" fmla="*/ 939138 h 1100441"/>
                <a:gd name="connsiteX146" fmla="*/ 506677 w 1048488"/>
                <a:gd name="connsiteY146" fmla="*/ 920088 h 1100441"/>
                <a:gd name="connsiteX147" fmla="*/ 492389 w 1048488"/>
                <a:gd name="connsiteY147" fmla="*/ 915326 h 1100441"/>
                <a:gd name="connsiteX148" fmla="*/ 478102 w 1048488"/>
                <a:gd name="connsiteY148" fmla="*/ 929613 h 1100441"/>
                <a:gd name="connsiteX149" fmla="*/ 473339 w 1048488"/>
                <a:gd name="connsiteY149" fmla="*/ 943901 h 1100441"/>
                <a:gd name="connsiteX150" fmla="*/ 459052 w 1048488"/>
                <a:gd name="connsiteY150" fmla="*/ 948663 h 1100441"/>
                <a:gd name="connsiteX151" fmla="*/ 416189 w 1048488"/>
                <a:gd name="connsiteY151" fmla="*/ 929613 h 1100441"/>
                <a:gd name="connsiteX152" fmla="*/ 401902 w 1048488"/>
                <a:gd name="connsiteY152" fmla="*/ 920088 h 1100441"/>
                <a:gd name="connsiteX153" fmla="*/ 387614 w 1048488"/>
                <a:gd name="connsiteY153" fmla="*/ 891513 h 1100441"/>
                <a:gd name="connsiteX154" fmla="*/ 382852 w 1048488"/>
                <a:gd name="connsiteY154" fmla="*/ 877226 h 1100441"/>
                <a:gd name="connsiteX155" fmla="*/ 359039 w 1048488"/>
                <a:gd name="connsiteY155" fmla="*/ 815313 h 1100441"/>
                <a:gd name="connsiteX156" fmla="*/ 349514 w 1048488"/>
                <a:gd name="connsiteY156" fmla="*/ 801026 h 1100441"/>
                <a:gd name="connsiteX157" fmla="*/ 330464 w 1048488"/>
                <a:gd name="connsiteY157" fmla="*/ 758163 h 1100441"/>
                <a:gd name="connsiteX158" fmla="*/ 273314 w 1048488"/>
                <a:gd name="connsiteY158" fmla="*/ 729588 h 1100441"/>
                <a:gd name="connsiteX159" fmla="*/ 259027 w 1048488"/>
                <a:gd name="connsiteY159" fmla="*/ 724826 h 1100441"/>
                <a:gd name="connsiteX160" fmla="*/ 244739 w 1048488"/>
                <a:gd name="connsiteY160" fmla="*/ 720063 h 1100441"/>
                <a:gd name="connsiteX161" fmla="*/ 178064 w 1048488"/>
                <a:gd name="connsiteY161" fmla="*/ 724826 h 11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1048488" h="1100441">
                  <a:moveTo>
                    <a:pt x="178064" y="724826"/>
                  </a:moveTo>
                  <a:cubicBezTo>
                    <a:pt x="156761" y="692871"/>
                    <a:pt x="181856" y="724179"/>
                    <a:pt x="154252" y="705776"/>
                  </a:cubicBezTo>
                  <a:cubicBezTo>
                    <a:pt x="118578" y="681993"/>
                    <a:pt x="159647" y="698049"/>
                    <a:pt x="125677" y="686726"/>
                  </a:cubicBezTo>
                  <a:cubicBezTo>
                    <a:pt x="122502" y="681963"/>
                    <a:pt x="118712" y="677558"/>
                    <a:pt x="116152" y="672438"/>
                  </a:cubicBezTo>
                  <a:cubicBezTo>
                    <a:pt x="108126" y="656387"/>
                    <a:pt x="108765" y="636673"/>
                    <a:pt x="116152" y="620051"/>
                  </a:cubicBezTo>
                  <a:cubicBezTo>
                    <a:pt x="118191" y="615464"/>
                    <a:pt x="125677" y="616876"/>
                    <a:pt x="130439" y="615288"/>
                  </a:cubicBezTo>
                  <a:cubicBezTo>
                    <a:pt x="139964" y="616876"/>
                    <a:pt x="149417" y="621117"/>
                    <a:pt x="159014" y="620051"/>
                  </a:cubicBezTo>
                  <a:cubicBezTo>
                    <a:pt x="176870" y="618067"/>
                    <a:pt x="175647" y="606900"/>
                    <a:pt x="168539" y="596238"/>
                  </a:cubicBezTo>
                  <a:cubicBezTo>
                    <a:pt x="164803" y="590634"/>
                    <a:pt x="159014" y="586713"/>
                    <a:pt x="154252" y="581951"/>
                  </a:cubicBezTo>
                  <a:cubicBezTo>
                    <a:pt x="149087" y="566458"/>
                    <a:pt x="152060" y="565631"/>
                    <a:pt x="135202" y="558138"/>
                  </a:cubicBezTo>
                  <a:cubicBezTo>
                    <a:pt x="126027" y="554060"/>
                    <a:pt x="106627" y="548613"/>
                    <a:pt x="106627" y="548613"/>
                  </a:cubicBezTo>
                  <a:cubicBezTo>
                    <a:pt x="108214" y="527976"/>
                    <a:pt x="108971" y="507258"/>
                    <a:pt x="111389" y="486701"/>
                  </a:cubicBezTo>
                  <a:cubicBezTo>
                    <a:pt x="113010" y="472920"/>
                    <a:pt x="121566" y="466084"/>
                    <a:pt x="111389" y="453363"/>
                  </a:cubicBezTo>
                  <a:cubicBezTo>
                    <a:pt x="107813" y="448894"/>
                    <a:pt x="101864" y="447013"/>
                    <a:pt x="97102" y="443838"/>
                  </a:cubicBezTo>
                  <a:cubicBezTo>
                    <a:pt x="85989" y="445426"/>
                    <a:pt x="74702" y="446077"/>
                    <a:pt x="63764" y="448601"/>
                  </a:cubicBezTo>
                  <a:cubicBezTo>
                    <a:pt x="53981" y="450859"/>
                    <a:pt x="35189" y="458126"/>
                    <a:pt x="35189" y="458126"/>
                  </a:cubicBezTo>
                  <a:cubicBezTo>
                    <a:pt x="30427" y="454951"/>
                    <a:pt x="24949" y="452648"/>
                    <a:pt x="20902" y="448601"/>
                  </a:cubicBezTo>
                  <a:cubicBezTo>
                    <a:pt x="9048" y="436747"/>
                    <a:pt x="0" y="410738"/>
                    <a:pt x="16139" y="396213"/>
                  </a:cubicBezTo>
                  <a:cubicBezTo>
                    <a:pt x="26824" y="386596"/>
                    <a:pt x="44714" y="393038"/>
                    <a:pt x="59002" y="391451"/>
                  </a:cubicBezTo>
                  <a:cubicBezTo>
                    <a:pt x="57414" y="385101"/>
                    <a:pt x="52169" y="378611"/>
                    <a:pt x="54239" y="372401"/>
                  </a:cubicBezTo>
                  <a:cubicBezTo>
                    <a:pt x="56049" y="366971"/>
                    <a:pt x="62873" y="363769"/>
                    <a:pt x="68527" y="362876"/>
                  </a:cubicBezTo>
                  <a:cubicBezTo>
                    <a:pt x="93665" y="358907"/>
                    <a:pt x="119327" y="359701"/>
                    <a:pt x="144727" y="358113"/>
                  </a:cubicBezTo>
                  <a:cubicBezTo>
                    <a:pt x="153700" y="349140"/>
                    <a:pt x="163234" y="341474"/>
                    <a:pt x="168539" y="329538"/>
                  </a:cubicBezTo>
                  <a:cubicBezTo>
                    <a:pt x="172617" y="320363"/>
                    <a:pt x="178064" y="300963"/>
                    <a:pt x="178064" y="300963"/>
                  </a:cubicBezTo>
                  <a:cubicBezTo>
                    <a:pt x="176477" y="289851"/>
                    <a:pt x="176527" y="278378"/>
                    <a:pt x="173302" y="267626"/>
                  </a:cubicBezTo>
                  <a:cubicBezTo>
                    <a:pt x="169976" y="256538"/>
                    <a:pt x="156135" y="247026"/>
                    <a:pt x="149489" y="239051"/>
                  </a:cubicBezTo>
                  <a:cubicBezTo>
                    <a:pt x="129643" y="215236"/>
                    <a:pt x="151872" y="232702"/>
                    <a:pt x="125677" y="215238"/>
                  </a:cubicBezTo>
                  <a:cubicBezTo>
                    <a:pt x="122502" y="210476"/>
                    <a:pt x="119816" y="205348"/>
                    <a:pt x="116152" y="200951"/>
                  </a:cubicBezTo>
                  <a:cubicBezTo>
                    <a:pt x="111840" y="195777"/>
                    <a:pt x="105600" y="192267"/>
                    <a:pt x="101864" y="186663"/>
                  </a:cubicBezTo>
                  <a:cubicBezTo>
                    <a:pt x="99079" y="182486"/>
                    <a:pt x="99347" y="176866"/>
                    <a:pt x="97102" y="172376"/>
                  </a:cubicBezTo>
                  <a:cubicBezTo>
                    <a:pt x="89164" y="156500"/>
                    <a:pt x="87577" y="158088"/>
                    <a:pt x="73289" y="148563"/>
                  </a:cubicBezTo>
                  <a:lnTo>
                    <a:pt x="63764" y="119988"/>
                  </a:lnTo>
                  <a:cubicBezTo>
                    <a:pt x="62159" y="115174"/>
                    <a:pt x="58993" y="89019"/>
                    <a:pt x="54239" y="81888"/>
                  </a:cubicBezTo>
                  <a:cubicBezTo>
                    <a:pt x="50503" y="76284"/>
                    <a:pt x="44264" y="72775"/>
                    <a:pt x="39952" y="67601"/>
                  </a:cubicBezTo>
                  <a:cubicBezTo>
                    <a:pt x="36288" y="63204"/>
                    <a:pt x="33602" y="58076"/>
                    <a:pt x="30427" y="53313"/>
                  </a:cubicBezTo>
                  <a:cubicBezTo>
                    <a:pt x="31923" y="39847"/>
                    <a:pt x="24780" y="4454"/>
                    <a:pt x="49477" y="926"/>
                  </a:cubicBezTo>
                  <a:cubicBezTo>
                    <a:pt x="55957" y="0"/>
                    <a:pt x="62177" y="4101"/>
                    <a:pt x="68527" y="5688"/>
                  </a:cubicBezTo>
                  <a:cubicBezTo>
                    <a:pt x="97134" y="24760"/>
                    <a:pt x="68927" y="10451"/>
                    <a:pt x="120914" y="10451"/>
                  </a:cubicBezTo>
                  <a:cubicBezTo>
                    <a:pt x="133713" y="10451"/>
                    <a:pt x="146314" y="13626"/>
                    <a:pt x="159014" y="15213"/>
                  </a:cubicBezTo>
                  <a:cubicBezTo>
                    <a:pt x="168539" y="18388"/>
                    <a:pt x="179235" y="19169"/>
                    <a:pt x="187589" y="24738"/>
                  </a:cubicBezTo>
                  <a:cubicBezTo>
                    <a:pt x="192352" y="27913"/>
                    <a:pt x="196616" y="32008"/>
                    <a:pt x="201877" y="34263"/>
                  </a:cubicBezTo>
                  <a:cubicBezTo>
                    <a:pt x="217643" y="41020"/>
                    <a:pt x="260145" y="42947"/>
                    <a:pt x="268552" y="43788"/>
                  </a:cubicBezTo>
                  <a:cubicBezTo>
                    <a:pt x="273314" y="46963"/>
                    <a:pt x="279263" y="48844"/>
                    <a:pt x="282839" y="53313"/>
                  </a:cubicBezTo>
                  <a:cubicBezTo>
                    <a:pt x="285975" y="57233"/>
                    <a:pt x="285357" y="63111"/>
                    <a:pt x="287602" y="67601"/>
                  </a:cubicBezTo>
                  <a:cubicBezTo>
                    <a:pt x="290162" y="72720"/>
                    <a:pt x="293952" y="77126"/>
                    <a:pt x="297127" y="81888"/>
                  </a:cubicBezTo>
                  <a:cubicBezTo>
                    <a:pt x="308239" y="80301"/>
                    <a:pt x="320206" y="81685"/>
                    <a:pt x="330464" y="77126"/>
                  </a:cubicBezTo>
                  <a:cubicBezTo>
                    <a:pt x="335695" y="74801"/>
                    <a:pt x="334758" y="65163"/>
                    <a:pt x="339989" y="62838"/>
                  </a:cubicBezTo>
                  <a:cubicBezTo>
                    <a:pt x="350247" y="58279"/>
                    <a:pt x="362214" y="59663"/>
                    <a:pt x="373327" y="58076"/>
                  </a:cubicBezTo>
                  <a:cubicBezTo>
                    <a:pt x="378089" y="54901"/>
                    <a:pt x="383217" y="52215"/>
                    <a:pt x="387614" y="48551"/>
                  </a:cubicBezTo>
                  <a:cubicBezTo>
                    <a:pt x="392788" y="44239"/>
                    <a:pt x="396014" y="37534"/>
                    <a:pt x="401902" y="34263"/>
                  </a:cubicBezTo>
                  <a:cubicBezTo>
                    <a:pt x="410679" y="29387"/>
                    <a:pt x="430477" y="24738"/>
                    <a:pt x="430477" y="24738"/>
                  </a:cubicBezTo>
                  <a:cubicBezTo>
                    <a:pt x="433652" y="29501"/>
                    <a:pt x="437747" y="33765"/>
                    <a:pt x="440002" y="39026"/>
                  </a:cubicBezTo>
                  <a:cubicBezTo>
                    <a:pt x="442580" y="45042"/>
                    <a:pt x="440675" y="52965"/>
                    <a:pt x="444764" y="58076"/>
                  </a:cubicBezTo>
                  <a:cubicBezTo>
                    <a:pt x="447900" y="61996"/>
                    <a:pt x="454289" y="61251"/>
                    <a:pt x="459052" y="62838"/>
                  </a:cubicBezTo>
                  <a:cubicBezTo>
                    <a:pt x="462227" y="67601"/>
                    <a:pt x="464107" y="73550"/>
                    <a:pt x="468577" y="77126"/>
                  </a:cubicBezTo>
                  <a:cubicBezTo>
                    <a:pt x="472497" y="80262"/>
                    <a:pt x="478374" y="79643"/>
                    <a:pt x="482864" y="81888"/>
                  </a:cubicBezTo>
                  <a:cubicBezTo>
                    <a:pt x="519800" y="100356"/>
                    <a:pt x="475522" y="84202"/>
                    <a:pt x="511439" y="96176"/>
                  </a:cubicBezTo>
                  <a:cubicBezTo>
                    <a:pt x="514428" y="100659"/>
                    <a:pt x="525913" y="121855"/>
                    <a:pt x="535252" y="119988"/>
                  </a:cubicBezTo>
                  <a:cubicBezTo>
                    <a:pt x="540865" y="118866"/>
                    <a:pt x="540730" y="109748"/>
                    <a:pt x="544777" y="105701"/>
                  </a:cubicBezTo>
                  <a:cubicBezTo>
                    <a:pt x="548824" y="101654"/>
                    <a:pt x="554302" y="99351"/>
                    <a:pt x="559064" y="96176"/>
                  </a:cubicBezTo>
                  <a:cubicBezTo>
                    <a:pt x="563827" y="97763"/>
                    <a:pt x="569432" y="97802"/>
                    <a:pt x="573352" y="100938"/>
                  </a:cubicBezTo>
                  <a:cubicBezTo>
                    <a:pt x="577822" y="104514"/>
                    <a:pt x="580317" y="110106"/>
                    <a:pt x="582877" y="115226"/>
                  </a:cubicBezTo>
                  <a:cubicBezTo>
                    <a:pt x="586681" y="122834"/>
                    <a:pt x="590369" y="141448"/>
                    <a:pt x="592402" y="148563"/>
                  </a:cubicBezTo>
                  <a:cubicBezTo>
                    <a:pt x="593781" y="153390"/>
                    <a:pt x="595946" y="157981"/>
                    <a:pt x="597164" y="162851"/>
                  </a:cubicBezTo>
                  <a:cubicBezTo>
                    <a:pt x="601809" y="181432"/>
                    <a:pt x="603999" y="201169"/>
                    <a:pt x="606689" y="220001"/>
                  </a:cubicBezTo>
                  <a:cubicBezTo>
                    <a:pt x="605102" y="231113"/>
                    <a:pt x="605957" y="242861"/>
                    <a:pt x="601927" y="253338"/>
                  </a:cubicBezTo>
                  <a:cubicBezTo>
                    <a:pt x="597818" y="264023"/>
                    <a:pt x="589227" y="272388"/>
                    <a:pt x="582877" y="281913"/>
                  </a:cubicBezTo>
                  <a:lnTo>
                    <a:pt x="573352" y="296201"/>
                  </a:lnTo>
                  <a:cubicBezTo>
                    <a:pt x="567783" y="304555"/>
                    <a:pt x="553131" y="300157"/>
                    <a:pt x="544777" y="305726"/>
                  </a:cubicBezTo>
                  <a:lnTo>
                    <a:pt x="530489" y="315251"/>
                  </a:lnTo>
                  <a:cubicBezTo>
                    <a:pt x="528902" y="320013"/>
                    <a:pt x="522715" y="325522"/>
                    <a:pt x="525727" y="329538"/>
                  </a:cubicBezTo>
                  <a:cubicBezTo>
                    <a:pt x="533749" y="340234"/>
                    <a:pt x="555805" y="331544"/>
                    <a:pt x="563827" y="329538"/>
                  </a:cubicBezTo>
                  <a:cubicBezTo>
                    <a:pt x="568589" y="326363"/>
                    <a:pt x="572884" y="322338"/>
                    <a:pt x="578114" y="320013"/>
                  </a:cubicBezTo>
                  <a:cubicBezTo>
                    <a:pt x="587289" y="315935"/>
                    <a:pt x="606689" y="310488"/>
                    <a:pt x="606689" y="310488"/>
                  </a:cubicBezTo>
                  <a:cubicBezTo>
                    <a:pt x="620977" y="312076"/>
                    <a:pt x="636042" y="310338"/>
                    <a:pt x="649552" y="315251"/>
                  </a:cubicBezTo>
                  <a:cubicBezTo>
                    <a:pt x="654931" y="317207"/>
                    <a:pt x="657121" y="324159"/>
                    <a:pt x="659077" y="329538"/>
                  </a:cubicBezTo>
                  <a:cubicBezTo>
                    <a:pt x="663551" y="341841"/>
                    <a:pt x="668602" y="367638"/>
                    <a:pt x="668602" y="367638"/>
                  </a:cubicBezTo>
                  <a:cubicBezTo>
                    <a:pt x="673364" y="364463"/>
                    <a:pt x="677770" y="360673"/>
                    <a:pt x="682889" y="358113"/>
                  </a:cubicBezTo>
                  <a:cubicBezTo>
                    <a:pt x="722324" y="338396"/>
                    <a:pt x="670521" y="371123"/>
                    <a:pt x="711464" y="343826"/>
                  </a:cubicBezTo>
                  <a:cubicBezTo>
                    <a:pt x="724164" y="345413"/>
                    <a:pt x="737511" y="344283"/>
                    <a:pt x="749564" y="348588"/>
                  </a:cubicBezTo>
                  <a:cubicBezTo>
                    <a:pt x="760345" y="352438"/>
                    <a:pt x="768614" y="361288"/>
                    <a:pt x="778139" y="367638"/>
                  </a:cubicBezTo>
                  <a:lnTo>
                    <a:pt x="792427" y="377163"/>
                  </a:lnTo>
                  <a:cubicBezTo>
                    <a:pt x="798031" y="380899"/>
                    <a:pt x="801233" y="387536"/>
                    <a:pt x="806714" y="391451"/>
                  </a:cubicBezTo>
                  <a:cubicBezTo>
                    <a:pt x="817014" y="398808"/>
                    <a:pt x="828391" y="401852"/>
                    <a:pt x="840052" y="405738"/>
                  </a:cubicBezTo>
                  <a:lnTo>
                    <a:pt x="868627" y="424788"/>
                  </a:lnTo>
                  <a:cubicBezTo>
                    <a:pt x="873389" y="427963"/>
                    <a:pt x="877484" y="432503"/>
                    <a:pt x="882914" y="434313"/>
                  </a:cubicBezTo>
                  <a:lnTo>
                    <a:pt x="897202" y="439076"/>
                  </a:lnTo>
                  <a:cubicBezTo>
                    <a:pt x="908821" y="435202"/>
                    <a:pt x="916545" y="434019"/>
                    <a:pt x="925777" y="424788"/>
                  </a:cubicBezTo>
                  <a:cubicBezTo>
                    <a:pt x="929824" y="420741"/>
                    <a:pt x="930994" y="414270"/>
                    <a:pt x="935302" y="410501"/>
                  </a:cubicBezTo>
                  <a:cubicBezTo>
                    <a:pt x="943917" y="402963"/>
                    <a:pt x="954352" y="397801"/>
                    <a:pt x="963877" y="391451"/>
                  </a:cubicBezTo>
                  <a:cubicBezTo>
                    <a:pt x="982342" y="379141"/>
                    <a:pt x="972733" y="383736"/>
                    <a:pt x="992452" y="377163"/>
                  </a:cubicBezTo>
                  <a:cubicBezTo>
                    <a:pt x="1000389" y="378751"/>
                    <a:pt x="1008411" y="379963"/>
                    <a:pt x="1016264" y="381926"/>
                  </a:cubicBezTo>
                  <a:cubicBezTo>
                    <a:pt x="1021134" y="383144"/>
                    <a:pt x="1027002" y="383138"/>
                    <a:pt x="1030552" y="386688"/>
                  </a:cubicBezTo>
                  <a:cubicBezTo>
                    <a:pt x="1034102" y="390238"/>
                    <a:pt x="1033727" y="396213"/>
                    <a:pt x="1035314" y="400976"/>
                  </a:cubicBezTo>
                  <a:cubicBezTo>
                    <a:pt x="1036902" y="416851"/>
                    <a:pt x="1038098" y="432770"/>
                    <a:pt x="1040077" y="448601"/>
                  </a:cubicBezTo>
                  <a:cubicBezTo>
                    <a:pt x="1045093" y="488730"/>
                    <a:pt x="1048488" y="469014"/>
                    <a:pt x="1040077" y="515276"/>
                  </a:cubicBezTo>
                  <a:cubicBezTo>
                    <a:pt x="1039179" y="520215"/>
                    <a:pt x="1038099" y="525386"/>
                    <a:pt x="1035314" y="529563"/>
                  </a:cubicBezTo>
                  <a:cubicBezTo>
                    <a:pt x="1027978" y="540566"/>
                    <a:pt x="1017284" y="546346"/>
                    <a:pt x="1006739" y="553376"/>
                  </a:cubicBezTo>
                  <a:cubicBezTo>
                    <a:pt x="1003564" y="558138"/>
                    <a:pt x="1001522" y="563894"/>
                    <a:pt x="997214" y="567663"/>
                  </a:cubicBezTo>
                  <a:cubicBezTo>
                    <a:pt x="977060" y="585298"/>
                    <a:pt x="973975" y="584934"/>
                    <a:pt x="954352" y="591476"/>
                  </a:cubicBezTo>
                  <a:lnTo>
                    <a:pt x="925777" y="572426"/>
                  </a:lnTo>
                  <a:cubicBezTo>
                    <a:pt x="917423" y="566857"/>
                    <a:pt x="916252" y="601001"/>
                    <a:pt x="916252" y="601001"/>
                  </a:cubicBezTo>
                  <a:cubicBezTo>
                    <a:pt x="917839" y="613701"/>
                    <a:pt x="915816" y="627405"/>
                    <a:pt x="921014" y="639101"/>
                  </a:cubicBezTo>
                  <a:cubicBezTo>
                    <a:pt x="923053" y="643689"/>
                    <a:pt x="930812" y="641618"/>
                    <a:pt x="935302" y="643863"/>
                  </a:cubicBezTo>
                  <a:cubicBezTo>
                    <a:pt x="948561" y="650492"/>
                    <a:pt x="953346" y="657145"/>
                    <a:pt x="963877" y="667676"/>
                  </a:cubicBezTo>
                  <a:cubicBezTo>
                    <a:pt x="970083" y="686295"/>
                    <a:pt x="976386" y="692674"/>
                    <a:pt x="949589" y="710538"/>
                  </a:cubicBezTo>
                  <a:lnTo>
                    <a:pt x="921014" y="729588"/>
                  </a:lnTo>
                  <a:cubicBezTo>
                    <a:pt x="919427" y="734351"/>
                    <a:pt x="918497" y="739386"/>
                    <a:pt x="916252" y="743876"/>
                  </a:cubicBezTo>
                  <a:cubicBezTo>
                    <a:pt x="897784" y="780813"/>
                    <a:pt x="913939" y="736530"/>
                    <a:pt x="901964" y="772451"/>
                  </a:cubicBezTo>
                  <a:cubicBezTo>
                    <a:pt x="903552" y="781976"/>
                    <a:pt x="904833" y="791557"/>
                    <a:pt x="906727" y="801026"/>
                  </a:cubicBezTo>
                  <a:cubicBezTo>
                    <a:pt x="908011" y="807444"/>
                    <a:pt x="910205" y="813658"/>
                    <a:pt x="911489" y="820076"/>
                  </a:cubicBezTo>
                  <a:cubicBezTo>
                    <a:pt x="913383" y="829545"/>
                    <a:pt x="909893" y="841384"/>
                    <a:pt x="916252" y="848651"/>
                  </a:cubicBezTo>
                  <a:cubicBezTo>
                    <a:pt x="921379" y="854511"/>
                    <a:pt x="960076" y="861226"/>
                    <a:pt x="968639" y="862938"/>
                  </a:cubicBezTo>
                  <a:cubicBezTo>
                    <a:pt x="973402" y="866113"/>
                    <a:pt x="979351" y="867993"/>
                    <a:pt x="982927" y="872463"/>
                  </a:cubicBezTo>
                  <a:cubicBezTo>
                    <a:pt x="994132" y="886470"/>
                    <a:pt x="982739" y="901600"/>
                    <a:pt x="978164" y="915326"/>
                  </a:cubicBezTo>
                  <a:lnTo>
                    <a:pt x="968639" y="943901"/>
                  </a:lnTo>
                  <a:cubicBezTo>
                    <a:pt x="966829" y="949331"/>
                    <a:pt x="959114" y="950251"/>
                    <a:pt x="954352" y="953426"/>
                  </a:cubicBezTo>
                  <a:cubicBezTo>
                    <a:pt x="946074" y="978257"/>
                    <a:pt x="955710" y="959098"/>
                    <a:pt x="935302" y="977238"/>
                  </a:cubicBezTo>
                  <a:cubicBezTo>
                    <a:pt x="925234" y="986187"/>
                    <a:pt x="914199" y="994605"/>
                    <a:pt x="906727" y="1005813"/>
                  </a:cubicBezTo>
                  <a:cubicBezTo>
                    <a:pt x="903552" y="1010576"/>
                    <a:pt x="901249" y="1016054"/>
                    <a:pt x="897202" y="1020101"/>
                  </a:cubicBezTo>
                  <a:cubicBezTo>
                    <a:pt x="869684" y="1047619"/>
                    <a:pt x="895935" y="1008803"/>
                    <a:pt x="868627" y="1043913"/>
                  </a:cubicBezTo>
                  <a:cubicBezTo>
                    <a:pt x="861599" y="1052949"/>
                    <a:pt x="855927" y="1062963"/>
                    <a:pt x="849577" y="1072488"/>
                  </a:cubicBezTo>
                  <a:cubicBezTo>
                    <a:pt x="846792" y="1076665"/>
                    <a:pt x="847950" y="1082856"/>
                    <a:pt x="844814" y="1086776"/>
                  </a:cubicBezTo>
                  <a:cubicBezTo>
                    <a:pt x="841238" y="1091245"/>
                    <a:pt x="835289" y="1093126"/>
                    <a:pt x="830527" y="1096301"/>
                  </a:cubicBezTo>
                  <a:cubicBezTo>
                    <a:pt x="770974" y="1081411"/>
                    <a:pt x="845016" y="1100441"/>
                    <a:pt x="797189" y="1086776"/>
                  </a:cubicBezTo>
                  <a:cubicBezTo>
                    <a:pt x="781485" y="1082289"/>
                    <a:pt x="770709" y="1080527"/>
                    <a:pt x="754327" y="1077251"/>
                  </a:cubicBezTo>
                  <a:cubicBezTo>
                    <a:pt x="743796" y="1066720"/>
                    <a:pt x="739011" y="1060067"/>
                    <a:pt x="725752" y="1053438"/>
                  </a:cubicBezTo>
                  <a:cubicBezTo>
                    <a:pt x="721262" y="1051193"/>
                    <a:pt x="716227" y="1050263"/>
                    <a:pt x="711464" y="1048676"/>
                  </a:cubicBezTo>
                  <a:cubicBezTo>
                    <a:pt x="708289" y="1043913"/>
                    <a:pt x="704499" y="1039508"/>
                    <a:pt x="701939" y="1034388"/>
                  </a:cubicBezTo>
                  <a:cubicBezTo>
                    <a:pt x="699694" y="1029898"/>
                    <a:pt x="699615" y="1024489"/>
                    <a:pt x="697177" y="1020101"/>
                  </a:cubicBezTo>
                  <a:cubicBezTo>
                    <a:pt x="691618" y="1010094"/>
                    <a:pt x="684477" y="1001051"/>
                    <a:pt x="678127" y="991526"/>
                  </a:cubicBezTo>
                  <a:lnTo>
                    <a:pt x="668602" y="977238"/>
                  </a:lnTo>
                  <a:lnTo>
                    <a:pt x="659077" y="962951"/>
                  </a:lnTo>
                  <a:cubicBezTo>
                    <a:pt x="680912" y="930199"/>
                    <a:pt x="674507" y="945236"/>
                    <a:pt x="682889" y="920088"/>
                  </a:cubicBezTo>
                  <a:cubicBezTo>
                    <a:pt x="681302" y="912151"/>
                    <a:pt x="680090" y="904129"/>
                    <a:pt x="678127" y="896276"/>
                  </a:cubicBezTo>
                  <a:cubicBezTo>
                    <a:pt x="676909" y="891406"/>
                    <a:pt x="674189" y="886940"/>
                    <a:pt x="673364" y="881988"/>
                  </a:cubicBezTo>
                  <a:cubicBezTo>
                    <a:pt x="671001" y="867808"/>
                    <a:pt x="673941" y="852473"/>
                    <a:pt x="668602" y="839126"/>
                  </a:cubicBezTo>
                  <a:cubicBezTo>
                    <a:pt x="666737" y="834465"/>
                    <a:pt x="659077" y="835951"/>
                    <a:pt x="654314" y="834363"/>
                  </a:cubicBezTo>
                  <a:cubicBezTo>
                    <a:pt x="642695" y="838237"/>
                    <a:pt x="634971" y="839420"/>
                    <a:pt x="625739" y="848651"/>
                  </a:cubicBezTo>
                  <a:cubicBezTo>
                    <a:pt x="621692" y="852698"/>
                    <a:pt x="619389" y="858176"/>
                    <a:pt x="616214" y="862938"/>
                  </a:cubicBezTo>
                  <a:cubicBezTo>
                    <a:pt x="614627" y="867701"/>
                    <a:pt x="614588" y="873306"/>
                    <a:pt x="611452" y="877226"/>
                  </a:cubicBezTo>
                  <a:cubicBezTo>
                    <a:pt x="607876" y="881696"/>
                    <a:pt x="602284" y="884191"/>
                    <a:pt x="597164" y="886751"/>
                  </a:cubicBezTo>
                  <a:cubicBezTo>
                    <a:pt x="583866" y="893400"/>
                    <a:pt x="561821" y="894521"/>
                    <a:pt x="549539" y="896276"/>
                  </a:cubicBezTo>
                  <a:cubicBezTo>
                    <a:pt x="547952" y="901038"/>
                    <a:pt x="546156" y="905736"/>
                    <a:pt x="544777" y="910563"/>
                  </a:cubicBezTo>
                  <a:cubicBezTo>
                    <a:pt x="542979" y="916857"/>
                    <a:pt x="543645" y="924167"/>
                    <a:pt x="540014" y="929613"/>
                  </a:cubicBezTo>
                  <a:cubicBezTo>
                    <a:pt x="536839" y="934375"/>
                    <a:pt x="530489" y="935963"/>
                    <a:pt x="525727" y="939138"/>
                  </a:cubicBezTo>
                  <a:cubicBezTo>
                    <a:pt x="487626" y="926439"/>
                    <a:pt x="532077" y="945488"/>
                    <a:pt x="506677" y="920088"/>
                  </a:cubicBezTo>
                  <a:cubicBezTo>
                    <a:pt x="503127" y="916538"/>
                    <a:pt x="497152" y="916913"/>
                    <a:pt x="492389" y="915326"/>
                  </a:cubicBezTo>
                  <a:cubicBezTo>
                    <a:pt x="487627" y="920088"/>
                    <a:pt x="481838" y="924009"/>
                    <a:pt x="478102" y="929613"/>
                  </a:cubicBezTo>
                  <a:cubicBezTo>
                    <a:pt x="475317" y="933790"/>
                    <a:pt x="476889" y="940351"/>
                    <a:pt x="473339" y="943901"/>
                  </a:cubicBezTo>
                  <a:cubicBezTo>
                    <a:pt x="469789" y="947451"/>
                    <a:pt x="463814" y="947076"/>
                    <a:pt x="459052" y="948663"/>
                  </a:cubicBezTo>
                  <a:cubicBezTo>
                    <a:pt x="436410" y="933569"/>
                    <a:pt x="450194" y="940948"/>
                    <a:pt x="416189" y="929613"/>
                  </a:cubicBezTo>
                  <a:cubicBezTo>
                    <a:pt x="410759" y="927803"/>
                    <a:pt x="406664" y="923263"/>
                    <a:pt x="401902" y="920088"/>
                  </a:cubicBezTo>
                  <a:cubicBezTo>
                    <a:pt x="389928" y="884171"/>
                    <a:pt x="406082" y="928449"/>
                    <a:pt x="387614" y="891513"/>
                  </a:cubicBezTo>
                  <a:cubicBezTo>
                    <a:pt x="385369" y="887023"/>
                    <a:pt x="384439" y="881988"/>
                    <a:pt x="382852" y="877226"/>
                  </a:cubicBezTo>
                  <a:cubicBezTo>
                    <a:pt x="376470" y="832556"/>
                    <a:pt x="384316" y="853228"/>
                    <a:pt x="359039" y="815313"/>
                  </a:cubicBezTo>
                  <a:lnTo>
                    <a:pt x="349514" y="801026"/>
                  </a:lnTo>
                  <a:cubicBezTo>
                    <a:pt x="345967" y="790384"/>
                    <a:pt x="341118" y="767486"/>
                    <a:pt x="330464" y="758163"/>
                  </a:cubicBezTo>
                  <a:cubicBezTo>
                    <a:pt x="307739" y="738279"/>
                    <a:pt x="300291" y="738580"/>
                    <a:pt x="273314" y="729588"/>
                  </a:cubicBezTo>
                  <a:lnTo>
                    <a:pt x="259027" y="724826"/>
                  </a:lnTo>
                  <a:cubicBezTo>
                    <a:pt x="254264" y="723238"/>
                    <a:pt x="249759" y="720063"/>
                    <a:pt x="244739" y="720063"/>
                  </a:cubicBezTo>
                  <a:lnTo>
                    <a:pt x="178064" y="724826"/>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1" name="Freeform 20"/>
            <p:cNvSpPr/>
            <p:nvPr>
              <p:custDataLst>
                <p:tags r:id="rId9"/>
              </p:custDataLst>
            </p:nvPr>
          </p:nvSpPr>
          <p:spPr bwMode="gray">
            <a:xfrm>
              <a:off x="4292827" y="1912938"/>
              <a:ext cx="238878" cy="235743"/>
            </a:xfrm>
            <a:custGeom>
              <a:avLst/>
              <a:gdLst>
                <a:gd name="connsiteX0" fmla="*/ 10278 w 238878"/>
                <a:gd name="connsiteY0" fmla="*/ 111918 h 235743"/>
                <a:gd name="connsiteX1" fmla="*/ 15041 w 238878"/>
                <a:gd name="connsiteY1" fmla="*/ 104775 h 235743"/>
                <a:gd name="connsiteX2" fmla="*/ 17422 w 238878"/>
                <a:gd name="connsiteY2" fmla="*/ 95250 h 235743"/>
                <a:gd name="connsiteX3" fmla="*/ 31710 w 238878"/>
                <a:gd name="connsiteY3" fmla="*/ 88106 h 235743"/>
                <a:gd name="connsiteX4" fmla="*/ 41235 w 238878"/>
                <a:gd name="connsiteY4" fmla="*/ 90487 h 235743"/>
                <a:gd name="connsiteX5" fmla="*/ 43616 w 238878"/>
                <a:gd name="connsiteY5" fmla="*/ 100012 h 235743"/>
                <a:gd name="connsiteX6" fmla="*/ 57903 w 238878"/>
                <a:gd name="connsiteY6" fmla="*/ 104775 h 235743"/>
                <a:gd name="connsiteX7" fmla="*/ 74572 w 238878"/>
                <a:gd name="connsiteY7" fmla="*/ 102393 h 235743"/>
                <a:gd name="connsiteX8" fmla="*/ 81716 w 238878"/>
                <a:gd name="connsiteY8" fmla="*/ 95250 h 235743"/>
                <a:gd name="connsiteX9" fmla="*/ 86478 w 238878"/>
                <a:gd name="connsiteY9" fmla="*/ 73818 h 235743"/>
                <a:gd name="connsiteX10" fmla="*/ 88860 w 238878"/>
                <a:gd name="connsiteY10" fmla="*/ 66675 h 235743"/>
                <a:gd name="connsiteX11" fmla="*/ 98385 w 238878"/>
                <a:gd name="connsiteY11" fmla="*/ 64293 h 235743"/>
                <a:gd name="connsiteX12" fmla="*/ 115053 w 238878"/>
                <a:gd name="connsiteY12" fmla="*/ 61912 h 235743"/>
                <a:gd name="connsiteX13" fmla="*/ 131722 w 238878"/>
                <a:gd name="connsiteY13" fmla="*/ 57150 h 235743"/>
                <a:gd name="connsiteX14" fmla="*/ 146010 w 238878"/>
                <a:gd name="connsiteY14" fmla="*/ 47625 h 235743"/>
                <a:gd name="connsiteX15" fmla="*/ 153153 w 238878"/>
                <a:gd name="connsiteY15" fmla="*/ 42862 h 235743"/>
                <a:gd name="connsiteX16" fmla="*/ 160297 w 238878"/>
                <a:gd name="connsiteY16" fmla="*/ 21431 h 235743"/>
                <a:gd name="connsiteX17" fmla="*/ 181728 w 238878"/>
                <a:gd name="connsiteY17" fmla="*/ 4762 h 235743"/>
                <a:gd name="connsiteX18" fmla="*/ 188872 w 238878"/>
                <a:gd name="connsiteY18" fmla="*/ 0 h 235743"/>
                <a:gd name="connsiteX19" fmla="*/ 198397 w 238878"/>
                <a:gd name="connsiteY19" fmla="*/ 2381 h 235743"/>
                <a:gd name="connsiteX20" fmla="*/ 207922 w 238878"/>
                <a:gd name="connsiteY20" fmla="*/ 40481 h 235743"/>
                <a:gd name="connsiteX21" fmla="*/ 212685 w 238878"/>
                <a:gd name="connsiteY21" fmla="*/ 54768 h 235743"/>
                <a:gd name="connsiteX22" fmla="*/ 212685 w 238878"/>
                <a:gd name="connsiteY22" fmla="*/ 95250 h 235743"/>
                <a:gd name="connsiteX23" fmla="*/ 203160 w 238878"/>
                <a:gd name="connsiteY23" fmla="*/ 109537 h 235743"/>
                <a:gd name="connsiteX24" fmla="*/ 198397 w 238878"/>
                <a:gd name="connsiteY24" fmla="*/ 123825 h 235743"/>
                <a:gd name="connsiteX25" fmla="*/ 210303 w 238878"/>
                <a:gd name="connsiteY25" fmla="*/ 145256 h 235743"/>
                <a:gd name="connsiteX26" fmla="*/ 215066 w 238878"/>
                <a:gd name="connsiteY26" fmla="*/ 159543 h 235743"/>
                <a:gd name="connsiteX27" fmla="*/ 222210 w 238878"/>
                <a:gd name="connsiteY27" fmla="*/ 173831 h 235743"/>
                <a:gd name="connsiteX28" fmla="*/ 231735 w 238878"/>
                <a:gd name="connsiteY28" fmla="*/ 195262 h 235743"/>
                <a:gd name="connsiteX29" fmla="*/ 236497 w 238878"/>
                <a:gd name="connsiteY29" fmla="*/ 209550 h 235743"/>
                <a:gd name="connsiteX30" fmla="*/ 238878 w 238878"/>
                <a:gd name="connsiteY30" fmla="*/ 216693 h 235743"/>
                <a:gd name="connsiteX31" fmla="*/ 231735 w 238878"/>
                <a:gd name="connsiteY31" fmla="*/ 223837 h 235743"/>
                <a:gd name="connsiteX32" fmla="*/ 226972 w 238878"/>
                <a:gd name="connsiteY32" fmla="*/ 230981 h 235743"/>
                <a:gd name="connsiteX33" fmla="*/ 219828 w 238878"/>
                <a:gd name="connsiteY33" fmla="*/ 235743 h 235743"/>
                <a:gd name="connsiteX34" fmla="*/ 196016 w 238878"/>
                <a:gd name="connsiteY34" fmla="*/ 230981 h 235743"/>
                <a:gd name="connsiteX35" fmla="*/ 174585 w 238878"/>
                <a:gd name="connsiteY35" fmla="*/ 214312 h 235743"/>
                <a:gd name="connsiteX36" fmla="*/ 169822 w 238878"/>
                <a:gd name="connsiteY36" fmla="*/ 207168 h 235743"/>
                <a:gd name="connsiteX37" fmla="*/ 153153 w 238878"/>
                <a:gd name="connsiteY37" fmla="*/ 202406 h 235743"/>
                <a:gd name="connsiteX38" fmla="*/ 141247 w 238878"/>
                <a:gd name="connsiteY38" fmla="*/ 204787 h 235743"/>
                <a:gd name="connsiteX39" fmla="*/ 134103 w 238878"/>
                <a:gd name="connsiteY39" fmla="*/ 207168 h 235743"/>
                <a:gd name="connsiteX40" fmla="*/ 131722 w 238878"/>
                <a:gd name="connsiteY40" fmla="*/ 214312 h 235743"/>
                <a:gd name="connsiteX41" fmla="*/ 117435 w 238878"/>
                <a:gd name="connsiteY41" fmla="*/ 219075 h 235743"/>
                <a:gd name="connsiteX42" fmla="*/ 110291 w 238878"/>
                <a:gd name="connsiteY42" fmla="*/ 221456 h 235743"/>
                <a:gd name="connsiteX43" fmla="*/ 103147 w 238878"/>
                <a:gd name="connsiteY43" fmla="*/ 216693 h 235743"/>
                <a:gd name="connsiteX44" fmla="*/ 79335 w 238878"/>
                <a:gd name="connsiteY44" fmla="*/ 211931 h 235743"/>
                <a:gd name="connsiteX45" fmla="*/ 57903 w 238878"/>
                <a:gd name="connsiteY45" fmla="*/ 200025 h 235743"/>
                <a:gd name="connsiteX46" fmla="*/ 48378 w 238878"/>
                <a:gd name="connsiteY46" fmla="*/ 185737 h 235743"/>
                <a:gd name="connsiteX47" fmla="*/ 43616 w 238878"/>
                <a:gd name="connsiteY47" fmla="*/ 178593 h 235743"/>
                <a:gd name="connsiteX48" fmla="*/ 36472 w 238878"/>
                <a:gd name="connsiteY48" fmla="*/ 150018 h 235743"/>
                <a:gd name="connsiteX49" fmla="*/ 34091 w 238878"/>
                <a:gd name="connsiteY49" fmla="*/ 142875 h 235743"/>
                <a:gd name="connsiteX50" fmla="*/ 31710 w 238878"/>
                <a:gd name="connsiteY50" fmla="*/ 135731 h 235743"/>
                <a:gd name="connsiteX51" fmla="*/ 24566 w 238878"/>
                <a:gd name="connsiteY51" fmla="*/ 128587 h 235743"/>
                <a:gd name="connsiteX52" fmla="*/ 10278 w 238878"/>
                <a:gd name="connsiteY52" fmla="*/ 121443 h 235743"/>
                <a:gd name="connsiteX53" fmla="*/ 3135 w 238878"/>
                <a:gd name="connsiteY53" fmla="*/ 116681 h 235743"/>
                <a:gd name="connsiteX54" fmla="*/ 10278 w 238878"/>
                <a:gd name="connsiteY54" fmla="*/ 111918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38878" h="235743">
                  <a:moveTo>
                    <a:pt x="10278" y="111918"/>
                  </a:moveTo>
                  <a:cubicBezTo>
                    <a:pt x="12262" y="109934"/>
                    <a:pt x="13914" y="107405"/>
                    <a:pt x="15041" y="104775"/>
                  </a:cubicBezTo>
                  <a:cubicBezTo>
                    <a:pt x="16330" y="101767"/>
                    <a:pt x="15607" y="97973"/>
                    <a:pt x="17422" y="95250"/>
                  </a:cubicBezTo>
                  <a:cubicBezTo>
                    <a:pt x="20060" y="91292"/>
                    <a:pt x="27634" y="89464"/>
                    <a:pt x="31710" y="88106"/>
                  </a:cubicBezTo>
                  <a:cubicBezTo>
                    <a:pt x="34885" y="88900"/>
                    <a:pt x="38921" y="88173"/>
                    <a:pt x="41235" y="90487"/>
                  </a:cubicBezTo>
                  <a:cubicBezTo>
                    <a:pt x="43549" y="92801"/>
                    <a:pt x="41131" y="97882"/>
                    <a:pt x="43616" y="100012"/>
                  </a:cubicBezTo>
                  <a:cubicBezTo>
                    <a:pt x="47427" y="103279"/>
                    <a:pt x="57903" y="104775"/>
                    <a:pt x="57903" y="104775"/>
                  </a:cubicBezTo>
                  <a:cubicBezTo>
                    <a:pt x="63459" y="103981"/>
                    <a:pt x="69361" y="104477"/>
                    <a:pt x="74572" y="102393"/>
                  </a:cubicBezTo>
                  <a:cubicBezTo>
                    <a:pt x="77699" y="101142"/>
                    <a:pt x="79848" y="98052"/>
                    <a:pt x="81716" y="95250"/>
                  </a:cubicBezTo>
                  <a:cubicBezTo>
                    <a:pt x="84396" y="91230"/>
                    <a:pt x="86046" y="75761"/>
                    <a:pt x="86478" y="73818"/>
                  </a:cubicBezTo>
                  <a:cubicBezTo>
                    <a:pt x="87023" y="71368"/>
                    <a:pt x="86900" y="68243"/>
                    <a:pt x="88860" y="66675"/>
                  </a:cubicBezTo>
                  <a:cubicBezTo>
                    <a:pt x="91416" y="64631"/>
                    <a:pt x="95165" y="64879"/>
                    <a:pt x="98385" y="64293"/>
                  </a:cubicBezTo>
                  <a:cubicBezTo>
                    <a:pt x="103907" y="63289"/>
                    <a:pt x="109531" y="62916"/>
                    <a:pt x="115053" y="61912"/>
                  </a:cubicBezTo>
                  <a:cubicBezTo>
                    <a:pt x="121631" y="60716"/>
                    <a:pt x="125601" y="59190"/>
                    <a:pt x="131722" y="57150"/>
                  </a:cubicBezTo>
                  <a:lnTo>
                    <a:pt x="146010" y="47625"/>
                  </a:lnTo>
                  <a:lnTo>
                    <a:pt x="153153" y="42862"/>
                  </a:lnTo>
                  <a:lnTo>
                    <a:pt x="160297" y="21431"/>
                  </a:lnTo>
                  <a:cubicBezTo>
                    <a:pt x="165929" y="4531"/>
                    <a:pt x="172082" y="9585"/>
                    <a:pt x="181728" y="4762"/>
                  </a:cubicBezTo>
                  <a:cubicBezTo>
                    <a:pt x="184288" y="3482"/>
                    <a:pt x="186491" y="1587"/>
                    <a:pt x="188872" y="0"/>
                  </a:cubicBezTo>
                  <a:cubicBezTo>
                    <a:pt x="192047" y="794"/>
                    <a:pt x="195555" y="757"/>
                    <a:pt x="198397" y="2381"/>
                  </a:cubicBezTo>
                  <a:cubicBezTo>
                    <a:pt x="212777" y="10598"/>
                    <a:pt x="205534" y="25358"/>
                    <a:pt x="207922" y="40481"/>
                  </a:cubicBezTo>
                  <a:cubicBezTo>
                    <a:pt x="208705" y="45440"/>
                    <a:pt x="212685" y="54768"/>
                    <a:pt x="212685" y="54768"/>
                  </a:cubicBezTo>
                  <a:cubicBezTo>
                    <a:pt x="215252" y="70174"/>
                    <a:pt x="217782" y="77921"/>
                    <a:pt x="212685" y="95250"/>
                  </a:cubicBezTo>
                  <a:cubicBezTo>
                    <a:pt x="211070" y="100741"/>
                    <a:pt x="206335" y="104775"/>
                    <a:pt x="203160" y="109537"/>
                  </a:cubicBezTo>
                  <a:cubicBezTo>
                    <a:pt x="200375" y="113714"/>
                    <a:pt x="198397" y="123825"/>
                    <a:pt x="198397" y="123825"/>
                  </a:cubicBezTo>
                  <a:cubicBezTo>
                    <a:pt x="202588" y="136398"/>
                    <a:pt x="199386" y="128880"/>
                    <a:pt x="210303" y="145256"/>
                  </a:cubicBezTo>
                  <a:cubicBezTo>
                    <a:pt x="213088" y="149433"/>
                    <a:pt x="213478" y="154781"/>
                    <a:pt x="215066" y="159543"/>
                  </a:cubicBezTo>
                  <a:cubicBezTo>
                    <a:pt x="218353" y="169404"/>
                    <a:pt x="216053" y="164596"/>
                    <a:pt x="222210" y="173831"/>
                  </a:cubicBezTo>
                  <a:cubicBezTo>
                    <a:pt x="227877" y="190833"/>
                    <a:pt x="224187" y="183941"/>
                    <a:pt x="231735" y="195262"/>
                  </a:cubicBezTo>
                  <a:lnTo>
                    <a:pt x="236497" y="209550"/>
                  </a:lnTo>
                  <a:lnTo>
                    <a:pt x="238878" y="216693"/>
                  </a:lnTo>
                  <a:cubicBezTo>
                    <a:pt x="236497" y="219074"/>
                    <a:pt x="233891" y="221250"/>
                    <a:pt x="231735" y="223837"/>
                  </a:cubicBezTo>
                  <a:cubicBezTo>
                    <a:pt x="229903" y="226036"/>
                    <a:pt x="228996" y="228957"/>
                    <a:pt x="226972" y="230981"/>
                  </a:cubicBezTo>
                  <a:cubicBezTo>
                    <a:pt x="224948" y="233005"/>
                    <a:pt x="222209" y="234156"/>
                    <a:pt x="219828" y="235743"/>
                  </a:cubicBezTo>
                  <a:cubicBezTo>
                    <a:pt x="215688" y="235152"/>
                    <a:pt x="201770" y="234177"/>
                    <a:pt x="196016" y="230981"/>
                  </a:cubicBezTo>
                  <a:cubicBezTo>
                    <a:pt x="187772" y="226401"/>
                    <a:pt x="180571" y="221495"/>
                    <a:pt x="174585" y="214312"/>
                  </a:cubicBezTo>
                  <a:cubicBezTo>
                    <a:pt x="172753" y="212113"/>
                    <a:pt x="172057" y="208956"/>
                    <a:pt x="169822" y="207168"/>
                  </a:cubicBezTo>
                  <a:cubicBezTo>
                    <a:pt x="168269" y="205926"/>
                    <a:pt x="153775" y="202561"/>
                    <a:pt x="153153" y="202406"/>
                  </a:cubicBezTo>
                  <a:cubicBezTo>
                    <a:pt x="149184" y="203200"/>
                    <a:pt x="145173" y="203805"/>
                    <a:pt x="141247" y="204787"/>
                  </a:cubicBezTo>
                  <a:cubicBezTo>
                    <a:pt x="138812" y="205396"/>
                    <a:pt x="135878" y="205393"/>
                    <a:pt x="134103" y="207168"/>
                  </a:cubicBezTo>
                  <a:cubicBezTo>
                    <a:pt x="132328" y="208943"/>
                    <a:pt x="133764" y="212853"/>
                    <a:pt x="131722" y="214312"/>
                  </a:cubicBezTo>
                  <a:cubicBezTo>
                    <a:pt x="127637" y="217230"/>
                    <a:pt x="122197" y="217487"/>
                    <a:pt x="117435" y="219075"/>
                  </a:cubicBezTo>
                  <a:lnTo>
                    <a:pt x="110291" y="221456"/>
                  </a:lnTo>
                  <a:cubicBezTo>
                    <a:pt x="107910" y="219868"/>
                    <a:pt x="105707" y="217973"/>
                    <a:pt x="103147" y="216693"/>
                  </a:cubicBezTo>
                  <a:cubicBezTo>
                    <a:pt x="96499" y="213369"/>
                    <a:pt x="85475" y="212808"/>
                    <a:pt x="79335" y="211931"/>
                  </a:cubicBezTo>
                  <a:cubicBezTo>
                    <a:pt x="66637" y="207698"/>
                    <a:pt x="65388" y="209648"/>
                    <a:pt x="57903" y="200025"/>
                  </a:cubicBezTo>
                  <a:cubicBezTo>
                    <a:pt x="54389" y="195507"/>
                    <a:pt x="51553" y="190500"/>
                    <a:pt x="48378" y="185737"/>
                  </a:cubicBezTo>
                  <a:lnTo>
                    <a:pt x="43616" y="178593"/>
                  </a:lnTo>
                  <a:cubicBezTo>
                    <a:pt x="40410" y="159353"/>
                    <a:pt x="42762" y="168887"/>
                    <a:pt x="36472" y="150018"/>
                  </a:cubicBezTo>
                  <a:lnTo>
                    <a:pt x="34091" y="142875"/>
                  </a:lnTo>
                  <a:cubicBezTo>
                    <a:pt x="33297" y="140494"/>
                    <a:pt x="33485" y="137506"/>
                    <a:pt x="31710" y="135731"/>
                  </a:cubicBezTo>
                  <a:cubicBezTo>
                    <a:pt x="29329" y="133350"/>
                    <a:pt x="27153" y="130743"/>
                    <a:pt x="24566" y="128587"/>
                  </a:cubicBezTo>
                  <a:cubicBezTo>
                    <a:pt x="14333" y="120060"/>
                    <a:pt x="21015" y="126812"/>
                    <a:pt x="10278" y="121443"/>
                  </a:cubicBezTo>
                  <a:cubicBezTo>
                    <a:pt x="7719" y="120163"/>
                    <a:pt x="5516" y="118268"/>
                    <a:pt x="3135" y="116681"/>
                  </a:cubicBezTo>
                  <a:cubicBezTo>
                    <a:pt x="0" y="107278"/>
                    <a:pt x="8294" y="113902"/>
                    <a:pt x="10278" y="111918"/>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2" name="Freeform 21"/>
            <p:cNvSpPr/>
            <p:nvPr>
              <p:custDataLst>
                <p:tags r:id="rId10"/>
              </p:custDataLst>
            </p:nvPr>
          </p:nvSpPr>
          <p:spPr bwMode="gray">
            <a:xfrm>
              <a:off x="4669414" y="2374900"/>
              <a:ext cx="1123560" cy="1476375"/>
            </a:xfrm>
            <a:custGeom>
              <a:avLst/>
              <a:gdLst>
                <a:gd name="connsiteX0" fmla="*/ 374260 w 1123560"/>
                <a:gd name="connsiteY0" fmla="*/ 3175 h 1476375"/>
                <a:gd name="connsiteX1" fmla="*/ 412360 w 1123560"/>
                <a:gd name="connsiteY1" fmla="*/ 0 h 1476375"/>
                <a:gd name="connsiteX2" fmla="*/ 437760 w 1123560"/>
                <a:gd name="connsiteY2" fmla="*/ 3175 h 1476375"/>
                <a:gd name="connsiteX3" fmla="*/ 444110 w 1123560"/>
                <a:gd name="connsiteY3" fmla="*/ 12700 h 1476375"/>
                <a:gd name="connsiteX4" fmla="*/ 447285 w 1123560"/>
                <a:gd name="connsiteY4" fmla="*/ 22225 h 1476375"/>
                <a:gd name="connsiteX5" fmla="*/ 450460 w 1123560"/>
                <a:gd name="connsiteY5" fmla="*/ 38100 h 1476375"/>
                <a:gd name="connsiteX6" fmla="*/ 469510 w 1123560"/>
                <a:gd name="connsiteY6" fmla="*/ 53975 h 1476375"/>
                <a:gd name="connsiteX7" fmla="*/ 488560 w 1123560"/>
                <a:gd name="connsiteY7" fmla="*/ 47625 h 1476375"/>
                <a:gd name="connsiteX8" fmla="*/ 498085 w 1123560"/>
                <a:gd name="connsiteY8" fmla="*/ 44450 h 1476375"/>
                <a:gd name="connsiteX9" fmla="*/ 507610 w 1123560"/>
                <a:gd name="connsiteY9" fmla="*/ 53975 h 1476375"/>
                <a:gd name="connsiteX10" fmla="*/ 517135 w 1123560"/>
                <a:gd name="connsiteY10" fmla="*/ 60325 h 1476375"/>
                <a:gd name="connsiteX11" fmla="*/ 529835 w 1123560"/>
                <a:gd name="connsiteY11" fmla="*/ 79375 h 1476375"/>
                <a:gd name="connsiteX12" fmla="*/ 545710 w 1123560"/>
                <a:gd name="connsiteY12" fmla="*/ 104775 h 1476375"/>
                <a:gd name="connsiteX13" fmla="*/ 564760 w 1123560"/>
                <a:gd name="connsiteY13" fmla="*/ 111125 h 1476375"/>
                <a:gd name="connsiteX14" fmla="*/ 583810 w 1123560"/>
                <a:gd name="connsiteY14" fmla="*/ 117475 h 1476375"/>
                <a:gd name="connsiteX15" fmla="*/ 593335 w 1123560"/>
                <a:gd name="connsiteY15" fmla="*/ 120650 h 1476375"/>
                <a:gd name="connsiteX16" fmla="*/ 602860 w 1123560"/>
                <a:gd name="connsiteY16" fmla="*/ 123825 h 1476375"/>
                <a:gd name="connsiteX17" fmla="*/ 618735 w 1123560"/>
                <a:gd name="connsiteY17" fmla="*/ 120650 h 1476375"/>
                <a:gd name="connsiteX18" fmla="*/ 637785 w 1123560"/>
                <a:gd name="connsiteY18" fmla="*/ 114300 h 1476375"/>
                <a:gd name="connsiteX19" fmla="*/ 656835 w 1123560"/>
                <a:gd name="connsiteY19" fmla="*/ 111125 h 1476375"/>
                <a:gd name="connsiteX20" fmla="*/ 660010 w 1123560"/>
                <a:gd name="connsiteY20" fmla="*/ 120650 h 1476375"/>
                <a:gd name="connsiteX21" fmla="*/ 666360 w 1123560"/>
                <a:gd name="connsiteY21" fmla="*/ 142875 h 1476375"/>
                <a:gd name="connsiteX22" fmla="*/ 682235 w 1123560"/>
                <a:gd name="connsiteY22" fmla="*/ 123825 h 1476375"/>
                <a:gd name="connsiteX23" fmla="*/ 691760 w 1123560"/>
                <a:gd name="connsiteY23" fmla="*/ 120650 h 1476375"/>
                <a:gd name="connsiteX24" fmla="*/ 701285 w 1123560"/>
                <a:gd name="connsiteY24" fmla="*/ 123825 h 1476375"/>
                <a:gd name="connsiteX25" fmla="*/ 707635 w 1123560"/>
                <a:gd name="connsiteY25" fmla="*/ 146050 h 1476375"/>
                <a:gd name="connsiteX26" fmla="*/ 704460 w 1123560"/>
                <a:gd name="connsiteY26" fmla="*/ 184150 h 1476375"/>
                <a:gd name="connsiteX27" fmla="*/ 691760 w 1123560"/>
                <a:gd name="connsiteY27" fmla="*/ 212725 h 1476375"/>
                <a:gd name="connsiteX28" fmla="*/ 688585 w 1123560"/>
                <a:gd name="connsiteY28" fmla="*/ 222250 h 1476375"/>
                <a:gd name="connsiteX29" fmla="*/ 691760 w 1123560"/>
                <a:gd name="connsiteY29" fmla="*/ 241300 h 1476375"/>
                <a:gd name="connsiteX30" fmla="*/ 704460 w 1123560"/>
                <a:gd name="connsiteY30" fmla="*/ 260350 h 1476375"/>
                <a:gd name="connsiteX31" fmla="*/ 698110 w 1123560"/>
                <a:gd name="connsiteY31" fmla="*/ 282575 h 1476375"/>
                <a:gd name="connsiteX32" fmla="*/ 679060 w 1123560"/>
                <a:gd name="connsiteY32" fmla="*/ 301625 h 1476375"/>
                <a:gd name="connsiteX33" fmla="*/ 675885 w 1123560"/>
                <a:gd name="connsiteY33" fmla="*/ 311150 h 1476375"/>
                <a:gd name="connsiteX34" fmla="*/ 675885 w 1123560"/>
                <a:gd name="connsiteY34" fmla="*/ 368300 h 1476375"/>
                <a:gd name="connsiteX35" fmla="*/ 685410 w 1123560"/>
                <a:gd name="connsiteY35" fmla="*/ 371475 h 1476375"/>
                <a:gd name="connsiteX36" fmla="*/ 698110 w 1123560"/>
                <a:gd name="connsiteY36" fmla="*/ 374650 h 1476375"/>
                <a:gd name="connsiteX37" fmla="*/ 717160 w 1123560"/>
                <a:gd name="connsiteY37" fmla="*/ 381000 h 1476375"/>
                <a:gd name="connsiteX38" fmla="*/ 726685 w 1123560"/>
                <a:gd name="connsiteY38" fmla="*/ 387350 h 1476375"/>
                <a:gd name="connsiteX39" fmla="*/ 736210 w 1123560"/>
                <a:gd name="connsiteY39" fmla="*/ 390525 h 1476375"/>
                <a:gd name="connsiteX40" fmla="*/ 742560 w 1123560"/>
                <a:gd name="connsiteY40" fmla="*/ 400050 h 1476375"/>
                <a:gd name="connsiteX41" fmla="*/ 733035 w 1123560"/>
                <a:gd name="connsiteY41" fmla="*/ 434975 h 1476375"/>
                <a:gd name="connsiteX42" fmla="*/ 729860 w 1123560"/>
                <a:gd name="connsiteY42" fmla="*/ 444500 h 1476375"/>
                <a:gd name="connsiteX43" fmla="*/ 733035 w 1123560"/>
                <a:gd name="connsiteY43" fmla="*/ 463550 h 1476375"/>
                <a:gd name="connsiteX44" fmla="*/ 726685 w 1123560"/>
                <a:gd name="connsiteY44" fmla="*/ 517525 h 1476375"/>
                <a:gd name="connsiteX45" fmla="*/ 720335 w 1123560"/>
                <a:gd name="connsiteY45" fmla="*/ 536575 h 1476375"/>
                <a:gd name="connsiteX46" fmla="*/ 713985 w 1123560"/>
                <a:gd name="connsiteY46" fmla="*/ 546100 h 1476375"/>
                <a:gd name="connsiteX47" fmla="*/ 717160 w 1123560"/>
                <a:gd name="connsiteY47" fmla="*/ 612775 h 1476375"/>
                <a:gd name="connsiteX48" fmla="*/ 720335 w 1123560"/>
                <a:gd name="connsiteY48" fmla="*/ 622300 h 1476375"/>
                <a:gd name="connsiteX49" fmla="*/ 726685 w 1123560"/>
                <a:gd name="connsiteY49" fmla="*/ 631825 h 1476375"/>
                <a:gd name="connsiteX50" fmla="*/ 733035 w 1123560"/>
                <a:gd name="connsiteY50" fmla="*/ 650875 h 1476375"/>
                <a:gd name="connsiteX51" fmla="*/ 739385 w 1123560"/>
                <a:gd name="connsiteY51" fmla="*/ 660400 h 1476375"/>
                <a:gd name="connsiteX52" fmla="*/ 742560 w 1123560"/>
                <a:gd name="connsiteY52" fmla="*/ 669925 h 1476375"/>
                <a:gd name="connsiteX53" fmla="*/ 752085 w 1123560"/>
                <a:gd name="connsiteY53" fmla="*/ 676275 h 1476375"/>
                <a:gd name="connsiteX54" fmla="*/ 767960 w 1123560"/>
                <a:gd name="connsiteY54" fmla="*/ 698500 h 1476375"/>
                <a:gd name="connsiteX55" fmla="*/ 787010 w 1123560"/>
                <a:gd name="connsiteY55" fmla="*/ 708025 h 1476375"/>
                <a:gd name="connsiteX56" fmla="*/ 806060 w 1123560"/>
                <a:gd name="connsiteY56" fmla="*/ 723900 h 1476375"/>
                <a:gd name="connsiteX57" fmla="*/ 828285 w 1123560"/>
                <a:gd name="connsiteY57" fmla="*/ 730250 h 1476375"/>
                <a:gd name="connsiteX58" fmla="*/ 856860 w 1123560"/>
                <a:gd name="connsiteY58" fmla="*/ 739775 h 1476375"/>
                <a:gd name="connsiteX59" fmla="*/ 866385 w 1123560"/>
                <a:gd name="connsiteY59" fmla="*/ 742950 h 1476375"/>
                <a:gd name="connsiteX60" fmla="*/ 882260 w 1123560"/>
                <a:gd name="connsiteY60" fmla="*/ 739775 h 1476375"/>
                <a:gd name="connsiteX61" fmla="*/ 901310 w 1123560"/>
                <a:gd name="connsiteY61" fmla="*/ 733425 h 1476375"/>
                <a:gd name="connsiteX62" fmla="*/ 917185 w 1123560"/>
                <a:gd name="connsiteY62" fmla="*/ 720725 h 1476375"/>
                <a:gd name="connsiteX63" fmla="*/ 926710 w 1123560"/>
                <a:gd name="connsiteY63" fmla="*/ 723900 h 1476375"/>
                <a:gd name="connsiteX64" fmla="*/ 942585 w 1123560"/>
                <a:gd name="connsiteY64" fmla="*/ 742950 h 1476375"/>
                <a:gd name="connsiteX65" fmla="*/ 948935 w 1123560"/>
                <a:gd name="connsiteY65" fmla="*/ 752475 h 1476375"/>
                <a:gd name="connsiteX66" fmla="*/ 967985 w 1123560"/>
                <a:gd name="connsiteY66" fmla="*/ 768350 h 1476375"/>
                <a:gd name="connsiteX67" fmla="*/ 987035 w 1123560"/>
                <a:gd name="connsiteY67" fmla="*/ 774700 h 1476375"/>
                <a:gd name="connsiteX68" fmla="*/ 996560 w 1123560"/>
                <a:gd name="connsiteY68" fmla="*/ 777875 h 1476375"/>
                <a:gd name="connsiteX69" fmla="*/ 1009260 w 1123560"/>
                <a:gd name="connsiteY69" fmla="*/ 774700 h 1476375"/>
                <a:gd name="connsiteX70" fmla="*/ 1018785 w 1123560"/>
                <a:gd name="connsiteY70" fmla="*/ 771525 h 1476375"/>
                <a:gd name="connsiteX71" fmla="*/ 1041010 w 1123560"/>
                <a:gd name="connsiteY71" fmla="*/ 774700 h 1476375"/>
                <a:gd name="connsiteX72" fmla="*/ 1050535 w 1123560"/>
                <a:gd name="connsiteY72" fmla="*/ 777875 h 1476375"/>
                <a:gd name="connsiteX73" fmla="*/ 1053710 w 1123560"/>
                <a:gd name="connsiteY73" fmla="*/ 787400 h 1476375"/>
                <a:gd name="connsiteX74" fmla="*/ 1060060 w 1123560"/>
                <a:gd name="connsiteY74" fmla="*/ 796925 h 1476375"/>
                <a:gd name="connsiteX75" fmla="*/ 1079110 w 1123560"/>
                <a:gd name="connsiteY75" fmla="*/ 809625 h 1476375"/>
                <a:gd name="connsiteX76" fmla="*/ 1098160 w 1123560"/>
                <a:gd name="connsiteY76" fmla="*/ 815975 h 1476375"/>
                <a:gd name="connsiteX77" fmla="*/ 1107685 w 1123560"/>
                <a:gd name="connsiteY77" fmla="*/ 822325 h 1476375"/>
                <a:gd name="connsiteX78" fmla="*/ 1120385 w 1123560"/>
                <a:gd name="connsiteY78" fmla="*/ 841375 h 1476375"/>
                <a:gd name="connsiteX79" fmla="*/ 1117210 w 1123560"/>
                <a:gd name="connsiteY79" fmla="*/ 882650 h 1476375"/>
                <a:gd name="connsiteX80" fmla="*/ 1123560 w 1123560"/>
                <a:gd name="connsiteY80" fmla="*/ 914400 h 1476375"/>
                <a:gd name="connsiteX81" fmla="*/ 1120385 w 1123560"/>
                <a:gd name="connsiteY81" fmla="*/ 933450 h 1476375"/>
                <a:gd name="connsiteX82" fmla="*/ 1117210 w 1123560"/>
                <a:gd name="connsiteY82" fmla="*/ 942975 h 1476375"/>
                <a:gd name="connsiteX83" fmla="*/ 1098160 w 1123560"/>
                <a:gd name="connsiteY83" fmla="*/ 955675 h 1476375"/>
                <a:gd name="connsiteX84" fmla="*/ 1069585 w 1123560"/>
                <a:gd name="connsiteY84" fmla="*/ 977900 h 1476375"/>
                <a:gd name="connsiteX85" fmla="*/ 1060060 w 1123560"/>
                <a:gd name="connsiteY85" fmla="*/ 981075 h 1476375"/>
                <a:gd name="connsiteX86" fmla="*/ 983860 w 1123560"/>
                <a:gd name="connsiteY86" fmla="*/ 977900 h 1476375"/>
                <a:gd name="connsiteX87" fmla="*/ 967985 w 1123560"/>
                <a:gd name="connsiteY87" fmla="*/ 974725 h 1476375"/>
                <a:gd name="connsiteX88" fmla="*/ 948935 w 1123560"/>
                <a:gd name="connsiteY88" fmla="*/ 968375 h 1476375"/>
                <a:gd name="connsiteX89" fmla="*/ 923535 w 1123560"/>
                <a:gd name="connsiteY89" fmla="*/ 971550 h 1476375"/>
                <a:gd name="connsiteX90" fmla="*/ 904485 w 1123560"/>
                <a:gd name="connsiteY90" fmla="*/ 984250 h 1476375"/>
                <a:gd name="connsiteX91" fmla="*/ 885435 w 1123560"/>
                <a:gd name="connsiteY91" fmla="*/ 996950 h 1476375"/>
                <a:gd name="connsiteX92" fmla="*/ 866385 w 1123560"/>
                <a:gd name="connsiteY92" fmla="*/ 1003300 h 1476375"/>
                <a:gd name="connsiteX93" fmla="*/ 844160 w 1123560"/>
                <a:gd name="connsiteY93" fmla="*/ 1009650 h 1476375"/>
                <a:gd name="connsiteX94" fmla="*/ 796535 w 1123560"/>
                <a:gd name="connsiteY94" fmla="*/ 1016000 h 1476375"/>
                <a:gd name="connsiteX95" fmla="*/ 777485 w 1123560"/>
                <a:gd name="connsiteY95" fmla="*/ 1022350 h 1476375"/>
                <a:gd name="connsiteX96" fmla="*/ 755260 w 1123560"/>
                <a:gd name="connsiteY96" fmla="*/ 1031875 h 1476375"/>
                <a:gd name="connsiteX97" fmla="*/ 736210 w 1123560"/>
                <a:gd name="connsiteY97" fmla="*/ 1044575 h 1476375"/>
                <a:gd name="connsiteX98" fmla="*/ 710810 w 1123560"/>
                <a:gd name="connsiteY98" fmla="*/ 1073150 h 1476375"/>
                <a:gd name="connsiteX99" fmla="*/ 701285 w 1123560"/>
                <a:gd name="connsiteY99" fmla="*/ 1082675 h 1476375"/>
                <a:gd name="connsiteX100" fmla="*/ 694935 w 1123560"/>
                <a:gd name="connsiteY100" fmla="*/ 1101725 h 1476375"/>
                <a:gd name="connsiteX101" fmla="*/ 698110 w 1123560"/>
                <a:gd name="connsiteY101" fmla="*/ 1114425 h 1476375"/>
                <a:gd name="connsiteX102" fmla="*/ 704460 w 1123560"/>
                <a:gd name="connsiteY102" fmla="*/ 1143000 h 1476375"/>
                <a:gd name="connsiteX103" fmla="*/ 701285 w 1123560"/>
                <a:gd name="connsiteY103" fmla="*/ 1181100 h 1476375"/>
                <a:gd name="connsiteX104" fmla="*/ 698110 w 1123560"/>
                <a:gd name="connsiteY104" fmla="*/ 1196975 h 1476375"/>
                <a:gd name="connsiteX105" fmla="*/ 694935 w 1123560"/>
                <a:gd name="connsiteY105" fmla="*/ 1219200 h 1476375"/>
                <a:gd name="connsiteX106" fmla="*/ 707635 w 1123560"/>
                <a:gd name="connsiteY106" fmla="*/ 1235075 h 1476375"/>
                <a:gd name="connsiteX107" fmla="*/ 710810 w 1123560"/>
                <a:gd name="connsiteY107" fmla="*/ 1244600 h 1476375"/>
                <a:gd name="connsiteX108" fmla="*/ 720335 w 1123560"/>
                <a:gd name="connsiteY108" fmla="*/ 1263650 h 1476375"/>
                <a:gd name="connsiteX109" fmla="*/ 717160 w 1123560"/>
                <a:gd name="connsiteY109" fmla="*/ 1292225 h 1476375"/>
                <a:gd name="connsiteX110" fmla="*/ 713985 w 1123560"/>
                <a:gd name="connsiteY110" fmla="*/ 1301750 h 1476375"/>
                <a:gd name="connsiteX111" fmla="*/ 720335 w 1123560"/>
                <a:gd name="connsiteY111" fmla="*/ 1330325 h 1476375"/>
                <a:gd name="connsiteX112" fmla="*/ 726685 w 1123560"/>
                <a:gd name="connsiteY112" fmla="*/ 1339850 h 1476375"/>
                <a:gd name="connsiteX113" fmla="*/ 729860 w 1123560"/>
                <a:gd name="connsiteY113" fmla="*/ 1349375 h 1476375"/>
                <a:gd name="connsiteX114" fmla="*/ 739385 w 1123560"/>
                <a:gd name="connsiteY114" fmla="*/ 1355725 h 1476375"/>
                <a:gd name="connsiteX115" fmla="*/ 755260 w 1123560"/>
                <a:gd name="connsiteY115" fmla="*/ 1374775 h 1476375"/>
                <a:gd name="connsiteX116" fmla="*/ 752085 w 1123560"/>
                <a:gd name="connsiteY116" fmla="*/ 1384300 h 1476375"/>
                <a:gd name="connsiteX117" fmla="*/ 761610 w 1123560"/>
                <a:gd name="connsiteY117" fmla="*/ 1403350 h 1476375"/>
                <a:gd name="connsiteX118" fmla="*/ 764785 w 1123560"/>
                <a:gd name="connsiteY118" fmla="*/ 1412875 h 1476375"/>
                <a:gd name="connsiteX119" fmla="*/ 755260 w 1123560"/>
                <a:gd name="connsiteY119" fmla="*/ 1463675 h 1476375"/>
                <a:gd name="connsiteX120" fmla="*/ 745735 w 1123560"/>
                <a:gd name="connsiteY120" fmla="*/ 1473200 h 1476375"/>
                <a:gd name="connsiteX121" fmla="*/ 729860 w 1123560"/>
                <a:gd name="connsiteY121" fmla="*/ 1476375 h 1476375"/>
                <a:gd name="connsiteX122" fmla="*/ 723510 w 1123560"/>
                <a:gd name="connsiteY122" fmla="*/ 1466850 h 1476375"/>
                <a:gd name="connsiteX123" fmla="*/ 682235 w 1123560"/>
                <a:gd name="connsiteY123" fmla="*/ 1463675 h 1476375"/>
                <a:gd name="connsiteX124" fmla="*/ 672710 w 1123560"/>
                <a:gd name="connsiteY124" fmla="*/ 1466850 h 1476375"/>
                <a:gd name="connsiteX125" fmla="*/ 637785 w 1123560"/>
                <a:gd name="connsiteY125" fmla="*/ 1457325 h 1476375"/>
                <a:gd name="connsiteX126" fmla="*/ 628260 w 1123560"/>
                <a:gd name="connsiteY126" fmla="*/ 1447800 h 1476375"/>
                <a:gd name="connsiteX127" fmla="*/ 625085 w 1123560"/>
                <a:gd name="connsiteY127" fmla="*/ 1438275 h 1476375"/>
                <a:gd name="connsiteX128" fmla="*/ 602860 w 1123560"/>
                <a:gd name="connsiteY128" fmla="*/ 1409700 h 1476375"/>
                <a:gd name="connsiteX129" fmla="*/ 593335 w 1123560"/>
                <a:gd name="connsiteY129" fmla="*/ 1403350 h 1476375"/>
                <a:gd name="connsiteX130" fmla="*/ 520310 w 1123560"/>
                <a:gd name="connsiteY130" fmla="*/ 1400175 h 1476375"/>
                <a:gd name="connsiteX131" fmla="*/ 501260 w 1123560"/>
                <a:gd name="connsiteY131" fmla="*/ 1387475 h 1476375"/>
                <a:gd name="connsiteX132" fmla="*/ 482210 w 1123560"/>
                <a:gd name="connsiteY132" fmla="*/ 1371600 h 1476375"/>
                <a:gd name="connsiteX133" fmla="*/ 463160 w 1123560"/>
                <a:gd name="connsiteY133" fmla="*/ 1365250 h 1476375"/>
                <a:gd name="connsiteX134" fmla="*/ 396485 w 1123560"/>
                <a:gd name="connsiteY134" fmla="*/ 1358900 h 1476375"/>
                <a:gd name="connsiteX135" fmla="*/ 390135 w 1123560"/>
                <a:gd name="connsiteY135" fmla="*/ 1349375 h 1476375"/>
                <a:gd name="connsiteX136" fmla="*/ 390135 w 1123560"/>
                <a:gd name="connsiteY136" fmla="*/ 1304925 h 1476375"/>
                <a:gd name="connsiteX137" fmla="*/ 383785 w 1123560"/>
                <a:gd name="connsiteY137" fmla="*/ 1295400 h 1476375"/>
                <a:gd name="connsiteX138" fmla="*/ 358385 w 1123560"/>
                <a:gd name="connsiteY138" fmla="*/ 1289050 h 1476375"/>
                <a:gd name="connsiteX139" fmla="*/ 361560 w 1123560"/>
                <a:gd name="connsiteY139" fmla="*/ 1270000 h 1476375"/>
                <a:gd name="connsiteX140" fmla="*/ 380610 w 1123560"/>
                <a:gd name="connsiteY140" fmla="*/ 1257300 h 1476375"/>
                <a:gd name="connsiteX141" fmla="*/ 380610 w 1123560"/>
                <a:gd name="connsiteY141" fmla="*/ 1219200 h 1476375"/>
                <a:gd name="connsiteX142" fmla="*/ 364735 w 1123560"/>
                <a:gd name="connsiteY142" fmla="*/ 1190625 h 1476375"/>
                <a:gd name="connsiteX143" fmla="*/ 348860 w 1123560"/>
                <a:gd name="connsiteY143" fmla="*/ 1171575 h 1476375"/>
                <a:gd name="connsiteX144" fmla="*/ 329810 w 1123560"/>
                <a:gd name="connsiteY144" fmla="*/ 1165225 h 1476375"/>
                <a:gd name="connsiteX145" fmla="*/ 310760 w 1123560"/>
                <a:gd name="connsiteY145" fmla="*/ 1158875 h 1476375"/>
                <a:gd name="connsiteX146" fmla="*/ 244085 w 1123560"/>
                <a:gd name="connsiteY146" fmla="*/ 1152525 h 1476375"/>
                <a:gd name="connsiteX147" fmla="*/ 221860 w 1123560"/>
                <a:gd name="connsiteY147" fmla="*/ 1149350 h 1476375"/>
                <a:gd name="connsiteX148" fmla="*/ 177410 w 1123560"/>
                <a:gd name="connsiteY148" fmla="*/ 1143000 h 1476375"/>
                <a:gd name="connsiteX149" fmla="*/ 171060 w 1123560"/>
                <a:gd name="connsiteY149" fmla="*/ 1133475 h 1476375"/>
                <a:gd name="connsiteX150" fmla="*/ 161535 w 1123560"/>
                <a:gd name="connsiteY150" fmla="*/ 1101725 h 1476375"/>
                <a:gd name="connsiteX151" fmla="*/ 155185 w 1123560"/>
                <a:gd name="connsiteY151" fmla="*/ 1082675 h 1476375"/>
                <a:gd name="connsiteX152" fmla="*/ 145660 w 1123560"/>
                <a:gd name="connsiteY152" fmla="*/ 1076325 h 1476375"/>
                <a:gd name="connsiteX153" fmla="*/ 139310 w 1123560"/>
                <a:gd name="connsiteY153" fmla="*/ 1066800 h 1476375"/>
                <a:gd name="connsiteX154" fmla="*/ 139310 w 1123560"/>
                <a:gd name="connsiteY154" fmla="*/ 1022350 h 1476375"/>
                <a:gd name="connsiteX155" fmla="*/ 129785 w 1123560"/>
                <a:gd name="connsiteY155" fmla="*/ 1003300 h 1476375"/>
                <a:gd name="connsiteX156" fmla="*/ 120260 w 1123560"/>
                <a:gd name="connsiteY156" fmla="*/ 1000125 h 1476375"/>
                <a:gd name="connsiteX157" fmla="*/ 91685 w 1123560"/>
                <a:gd name="connsiteY157" fmla="*/ 990600 h 1476375"/>
                <a:gd name="connsiteX158" fmla="*/ 44060 w 1123560"/>
                <a:gd name="connsiteY158" fmla="*/ 984250 h 1476375"/>
                <a:gd name="connsiteX159" fmla="*/ 37710 w 1123560"/>
                <a:gd name="connsiteY159" fmla="*/ 962025 h 1476375"/>
                <a:gd name="connsiteX160" fmla="*/ 31360 w 1123560"/>
                <a:gd name="connsiteY160" fmla="*/ 942975 h 1476375"/>
                <a:gd name="connsiteX161" fmla="*/ 25010 w 1123560"/>
                <a:gd name="connsiteY161" fmla="*/ 933450 h 1476375"/>
                <a:gd name="connsiteX162" fmla="*/ 18660 w 1123560"/>
                <a:gd name="connsiteY162" fmla="*/ 914400 h 1476375"/>
                <a:gd name="connsiteX163" fmla="*/ 12310 w 1123560"/>
                <a:gd name="connsiteY163" fmla="*/ 892175 h 1476375"/>
                <a:gd name="connsiteX164" fmla="*/ 2785 w 1123560"/>
                <a:gd name="connsiteY164" fmla="*/ 873125 h 1476375"/>
                <a:gd name="connsiteX165" fmla="*/ 5960 w 1123560"/>
                <a:gd name="connsiteY165" fmla="*/ 857250 h 1476375"/>
                <a:gd name="connsiteX166" fmla="*/ 25010 w 1123560"/>
                <a:gd name="connsiteY166" fmla="*/ 847725 h 1476375"/>
                <a:gd name="connsiteX167" fmla="*/ 28185 w 1123560"/>
                <a:gd name="connsiteY167" fmla="*/ 838200 h 1476375"/>
                <a:gd name="connsiteX168" fmla="*/ 34535 w 1123560"/>
                <a:gd name="connsiteY168" fmla="*/ 828675 h 1476375"/>
                <a:gd name="connsiteX169" fmla="*/ 40885 w 1123560"/>
                <a:gd name="connsiteY169" fmla="*/ 809625 h 1476375"/>
                <a:gd name="connsiteX170" fmla="*/ 31360 w 1123560"/>
                <a:gd name="connsiteY170" fmla="*/ 790575 h 1476375"/>
                <a:gd name="connsiteX171" fmla="*/ 18660 w 1123560"/>
                <a:gd name="connsiteY171" fmla="*/ 771525 h 1476375"/>
                <a:gd name="connsiteX172" fmla="*/ 15485 w 1123560"/>
                <a:gd name="connsiteY172" fmla="*/ 762000 h 1476375"/>
                <a:gd name="connsiteX173" fmla="*/ 18660 w 1123560"/>
                <a:gd name="connsiteY173" fmla="*/ 749300 h 1476375"/>
                <a:gd name="connsiteX174" fmla="*/ 37710 w 1123560"/>
                <a:gd name="connsiteY174" fmla="*/ 739775 h 1476375"/>
                <a:gd name="connsiteX175" fmla="*/ 66285 w 1123560"/>
                <a:gd name="connsiteY175" fmla="*/ 730250 h 1476375"/>
                <a:gd name="connsiteX176" fmla="*/ 85335 w 1123560"/>
                <a:gd name="connsiteY176" fmla="*/ 723900 h 1476375"/>
                <a:gd name="connsiteX177" fmla="*/ 113910 w 1123560"/>
                <a:gd name="connsiteY177" fmla="*/ 717550 h 1476375"/>
                <a:gd name="connsiteX178" fmla="*/ 155185 w 1123560"/>
                <a:gd name="connsiteY178" fmla="*/ 714375 h 1476375"/>
                <a:gd name="connsiteX179" fmla="*/ 164710 w 1123560"/>
                <a:gd name="connsiteY179" fmla="*/ 708025 h 1476375"/>
                <a:gd name="connsiteX180" fmla="*/ 177410 w 1123560"/>
                <a:gd name="connsiteY180" fmla="*/ 688975 h 1476375"/>
                <a:gd name="connsiteX181" fmla="*/ 183760 w 1123560"/>
                <a:gd name="connsiteY181" fmla="*/ 679450 h 1476375"/>
                <a:gd name="connsiteX182" fmla="*/ 193285 w 1123560"/>
                <a:gd name="connsiteY182" fmla="*/ 669925 h 1476375"/>
                <a:gd name="connsiteX183" fmla="*/ 196460 w 1123560"/>
                <a:gd name="connsiteY183" fmla="*/ 660400 h 1476375"/>
                <a:gd name="connsiteX184" fmla="*/ 205985 w 1123560"/>
                <a:gd name="connsiteY184" fmla="*/ 654050 h 1476375"/>
                <a:gd name="connsiteX185" fmla="*/ 212335 w 1123560"/>
                <a:gd name="connsiteY185" fmla="*/ 635000 h 1476375"/>
                <a:gd name="connsiteX186" fmla="*/ 209160 w 1123560"/>
                <a:gd name="connsiteY186" fmla="*/ 619125 h 1476375"/>
                <a:gd name="connsiteX187" fmla="*/ 199635 w 1123560"/>
                <a:gd name="connsiteY187" fmla="*/ 612775 h 1476375"/>
                <a:gd name="connsiteX188" fmla="*/ 202810 w 1123560"/>
                <a:gd name="connsiteY188" fmla="*/ 603250 h 1476375"/>
                <a:gd name="connsiteX189" fmla="*/ 212335 w 1123560"/>
                <a:gd name="connsiteY189" fmla="*/ 593725 h 1476375"/>
                <a:gd name="connsiteX190" fmla="*/ 218685 w 1123560"/>
                <a:gd name="connsiteY190" fmla="*/ 584200 h 1476375"/>
                <a:gd name="connsiteX191" fmla="*/ 209160 w 1123560"/>
                <a:gd name="connsiteY191" fmla="*/ 558800 h 1476375"/>
                <a:gd name="connsiteX192" fmla="*/ 199635 w 1123560"/>
                <a:gd name="connsiteY192" fmla="*/ 552450 h 1476375"/>
                <a:gd name="connsiteX193" fmla="*/ 186935 w 1123560"/>
                <a:gd name="connsiteY193" fmla="*/ 533400 h 1476375"/>
                <a:gd name="connsiteX194" fmla="*/ 190110 w 1123560"/>
                <a:gd name="connsiteY194" fmla="*/ 517525 h 1476375"/>
                <a:gd name="connsiteX195" fmla="*/ 205985 w 1123560"/>
                <a:gd name="connsiteY195" fmla="*/ 501650 h 1476375"/>
                <a:gd name="connsiteX196" fmla="*/ 212335 w 1123560"/>
                <a:gd name="connsiteY196" fmla="*/ 492125 h 1476375"/>
                <a:gd name="connsiteX197" fmla="*/ 215510 w 1123560"/>
                <a:gd name="connsiteY197" fmla="*/ 482600 h 1476375"/>
                <a:gd name="connsiteX198" fmla="*/ 199635 w 1123560"/>
                <a:gd name="connsiteY198" fmla="*/ 457200 h 1476375"/>
                <a:gd name="connsiteX199" fmla="*/ 190110 w 1123560"/>
                <a:gd name="connsiteY199" fmla="*/ 447675 h 1476375"/>
                <a:gd name="connsiteX200" fmla="*/ 177410 w 1123560"/>
                <a:gd name="connsiteY200" fmla="*/ 428625 h 1476375"/>
                <a:gd name="connsiteX201" fmla="*/ 171060 w 1123560"/>
                <a:gd name="connsiteY201" fmla="*/ 419100 h 1476375"/>
                <a:gd name="connsiteX202" fmla="*/ 167885 w 1123560"/>
                <a:gd name="connsiteY202" fmla="*/ 409575 h 1476375"/>
                <a:gd name="connsiteX203" fmla="*/ 174235 w 1123560"/>
                <a:gd name="connsiteY203" fmla="*/ 400050 h 1476375"/>
                <a:gd name="connsiteX204" fmla="*/ 180585 w 1123560"/>
                <a:gd name="connsiteY204" fmla="*/ 381000 h 1476375"/>
                <a:gd name="connsiteX205" fmla="*/ 167885 w 1123560"/>
                <a:gd name="connsiteY205" fmla="*/ 352425 h 1476375"/>
                <a:gd name="connsiteX206" fmla="*/ 161535 w 1123560"/>
                <a:gd name="connsiteY206" fmla="*/ 342900 h 1476375"/>
                <a:gd name="connsiteX207" fmla="*/ 155185 w 1123560"/>
                <a:gd name="connsiteY207" fmla="*/ 323850 h 1476375"/>
                <a:gd name="connsiteX208" fmla="*/ 142485 w 1123560"/>
                <a:gd name="connsiteY208" fmla="*/ 304800 h 1476375"/>
                <a:gd name="connsiteX209" fmla="*/ 110735 w 1123560"/>
                <a:gd name="connsiteY209" fmla="*/ 257175 h 1476375"/>
                <a:gd name="connsiteX210" fmla="*/ 107560 w 1123560"/>
                <a:gd name="connsiteY210" fmla="*/ 247650 h 1476375"/>
                <a:gd name="connsiteX211" fmla="*/ 94860 w 1123560"/>
                <a:gd name="connsiteY211" fmla="*/ 228600 h 1476375"/>
                <a:gd name="connsiteX212" fmla="*/ 88510 w 1123560"/>
                <a:gd name="connsiteY212" fmla="*/ 209550 h 1476375"/>
                <a:gd name="connsiteX213" fmla="*/ 85335 w 1123560"/>
                <a:gd name="connsiteY213" fmla="*/ 200025 h 1476375"/>
                <a:gd name="connsiteX214" fmla="*/ 82160 w 1123560"/>
                <a:gd name="connsiteY214" fmla="*/ 190500 h 1476375"/>
                <a:gd name="connsiteX215" fmla="*/ 78985 w 1123560"/>
                <a:gd name="connsiteY215" fmla="*/ 171450 h 1476375"/>
                <a:gd name="connsiteX216" fmla="*/ 82160 w 1123560"/>
                <a:gd name="connsiteY216" fmla="*/ 161925 h 1476375"/>
                <a:gd name="connsiteX217" fmla="*/ 139310 w 1123560"/>
                <a:gd name="connsiteY217" fmla="*/ 152400 h 1476375"/>
                <a:gd name="connsiteX218" fmla="*/ 158360 w 1123560"/>
                <a:gd name="connsiteY218" fmla="*/ 146050 h 1476375"/>
                <a:gd name="connsiteX219" fmla="*/ 164710 w 1123560"/>
                <a:gd name="connsiteY219" fmla="*/ 136525 h 1476375"/>
                <a:gd name="connsiteX220" fmla="*/ 174235 w 1123560"/>
                <a:gd name="connsiteY220" fmla="*/ 130175 h 1476375"/>
                <a:gd name="connsiteX221" fmla="*/ 193285 w 1123560"/>
                <a:gd name="connsiteY221" fmla="*/ 123825 h 1476375"/>
                <a:gd name="connsiteX222" fmla="*/ 221860 w 1123560"/>
                <a:gd name="connsiteY222" fmla="*/ 117475 h 1476375"/>
                <a:gd name="connsiteX223" fmla="*/ 259960 w 1123560"/>
                <a:gd name="connsiteY223" fmla="*/ 120650 h 1476375"/>
                <a:gd name="connsiteX224" fmla="*/ 279010 w 1123560"/>
                <a:gd name="connsiteY224" fmla="*/ 127000 h 1476375"/>
                <a:gd name="connsiteX225" fmla="*/ 288535 w 1123560"/>
                <a:gd name="connsiteY225" fmla="*/ 133350 h 1476375"/>
                <a:gd name="connsiteX226" fmla="*/ 317110 w 1123560"/>
                <a:gd name="connsiteY226" fmla="*/ 127000 h 1476375"/>
                <a:gd name="connsiteX227" fmla="*/ 342510 w 1123560"/>
                <a:gd name="connsiteY227" fmla="*/ 120650 h 1476375"/>
                <a:gd name="connsiteX228" fmla="*/ 345685 w 1123560"/>
                <a:gd name="connsiteY228" fmla="*/ 111125 h 1476375"/>
                <a:gd name="connsiteX229" fmla="*/ 364735 w 1123560"/>
                <a:gd name="connsiteY229" fmla="*/ 98425 h 1476375"/>
                <a:gd name="connsiteX230" fmla="*/ 383785 w 1123560"/>
                <a:gd name="connsiteY230" fmla="*/ 82550 h 1476375"/>
                <a:gd name="connsiteX231" fmla="*/ 386960 w 1123560"/>
                <a:gd name="connsiteY231" fmla="*/ 53975 h 1476375"/>
                <a:gd name="connsiteX232" fmla="*/ 406010 w 1123560"/>
                <a:gd name="connsiteY232" fmla="*/ 47625 h 1476375"/>
                <a:gd name="connsiteX233" fmla="*/ 415535 w 1123560"/>
                <a:gd name="connsiteY233" fmla="*/ 41275 h 1476375"/>
                <a:gd name="connsiteX234" fmla="*/ 415535 w 1123560"/>
                <a:gd name="connsiteY234" fmla="*/ 22225 h 1476375"/>
                <a:gd name="connsiteX235" fmla="*/ 406010 w 1123560"/>
                <a:gd name="connsiteY235" fmla="*/ 19050 h 1476375"/>
                <a:gd name="connsiteX236" fmla="*/ 402835 w 1123560"/>
                <a:gd name="connsiteY236" fmla="*/ 9525 h 1476375"/>
                <a:gd name="connsiteX237" fmla="*/ 374260 w 1123560"/>
                <a:gd name="connsiteY237" fmla="*/ 3175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123560" h="1476375">
                  <a:moveTo>
                    <a:pt x="374260" y="3175"/>
                  </a:moveTo>
                  <a:cubicBezTo>
                    <a:pt x="375847" y="1588"/>
                    <a:pt x="399616" y="0"/>
                    <a:pt x="412360" y="0"/>
                  </a:cubicBezTo>
                  <a:cubicBezTo>
                    <a:pt x="420893" y="0"/>
                    <a:pt x="429838" y="6"/>
                    <a:pt x="437760" y="3175"/>
                  </a:cubicBezTo>
                  <a:cubicBezTo>
                    <a:pt x="441303" y="4592"/>
                    <a:pt x="442403" y="9287"/>
                    <a:pt x="444110" y="12700"/>
                  </a:cubicBezTo>
                  <a:cubicBezTo>
                    <a:pt x="445607" y="15693"/>
                    <a:pt x="446473" y="18978"/>
                    <a:pt x="447285" y="22225"/>
                  </a:cubicBezTo>
                  <a:cubicBezTo>
                    <a:pt x="448594" y="27460"/>
                    <a:pt x="448047" y="33273"/>
                    <a:pt x="450460" y="38100"/>
                  </a:cubicBezTo>
                  <a:cubicBezTo>
                    <a:pt x="453516" y="44212"/>
                    <a:pt x="464040" y="50328"/>
                    <a:pt x="469510" y="53975"/>
                  </a:cubicBezTo>
                  <a:lnTo>
                    <a:pt x="488560" y="47625"/>
                  </a:lnTo>
                  <a:lnTo>
                    <a:pt x="498085" y="44450"/>
                  </a:lnTo>
                  <a:cubicBezTo>
                    <a:pt x="501260" y="47625"/>
                    <a:pt x="504161" y="51100"/>
                    <a:pt x="507610" y="53975"/>
                  </a:cubicBezTo>
                  <a:cubicBezTo>
                    <a:pt x="510541" y="56418"/>
                    <a:pt x="514622" y="57453"/>
                    <a:pt x="517135" y="60325"/>
                  </a:cubicBezTo>
                  <a:cubicBezTo>
                    <a:pt x="522161" y="66068"/>
                    <a:pt x="525602" y="73025"/>
                    <a:pt x="529835" y="79375"/>
                  </a:cubicBezTo>
                  <a:cubicBezTo>
                    <a:pt x="542556" y="98456"/>
                    <a:pt x="527672" y="96758"/>
                    <a:pt x="545710" y="104775"/>
                  </a:cubicBezTo>
                  <a:cubicBezTo>
                    <a:pt x="551827" y="107493"/>
                    <a:pt x="558410" y="109008"/>
                    <a:pt x="564760" y="111125"/>
                  </a:cubicBezTo>
                  <a:lnTo>
                    <a:pt x="583810" y="117475"/>
                  </a:lnTo>
                  <a:lnTo>
                    <a:pt x="593335" y="120650"/>
                  </a:lnTo>
                  <a:lnTo>
                    <a:pt x="602860" y="123825"/>
                  </a:lnTo>
                  <a:cubicBezTo>
                    <a:pt x="608152" y="122767"/>
                    <a:pt x="613529" y="122070"/>
                    <a:pt x="618735" y="120650"/>
                  </a:cubicBezTo>
                  <a:cubicBezTo>
                    <a:pt x="625193" y="118889"/>
                    <a:pt x="637785" y="114300"/>
                    <a:pt x="637785" y="114300"/>
                  </a:cubicBezTo>
                  <a:cubicBezTo>
                    <a:pt x="644100" y="110090"/>
                    <a:pt x="648948" y="103238"/>
                    <a:pt x="656835" y="111125"/>
                  </a:cubicBezTo>
                  <a:cubicBezTo>
                    <a:pt x="659202" y="113492"/>
                    <a:pt x="658952" y="117475"/>
                    <a:pt x="660010" y="120650"/>
                  </a:cubicBezTo>
                  <a:cubicBezTo>
                    <a:pt x="652280" y="143840"/>
                    <a:pt x="647166" y="138077"/>
                    <a:pt x="666360" y="142875"/>
                  </a:cubicBezTo>
                  <a:cubicBezTo>
                    <a:pt x="671046" y="135847"/>
                    <a:pt x="674901" y="128714"/>
                    <a:pt x="682235" y="123825"/>
                  </a:cubicBezTo>
                  <a:cubicBezTo>
                    <a:pt x="685020" y="121969"/>
                    <a:pt x="688585" y="121708"/>
                    <a:pt x="691760" y="120650"/>
                  </a:cubicBezTo>
                  <a:cubicBezTo>
                    <a:pt x="694935" y="121708"/>
                    <a:pt x="698918" y="121458"/>
                    <a:pt x="701285" y="123825"/>
                  </a:cubicBezTo>
                  <a:cubicBezTo>
                    <a:pt x="702803" y="125343"/>
                    <a:pt x="707608" y="145940"/>
                    <a:pt x="707635" y="146050"/>
                  </a:cubicBezTo>
                  <a:cubicBezTo>
                    <a:pt x="706577" y="158750"/>
                    <a:pt x="706555" y="171579"/>
                    <a:pt x="704460" y="184150"/>
                  </a:cubicBezTo>
                  <a:cubicBezTo>
                    <a:pt x="700364" y="208724"/>
                    <a:pt x="699850" y="196545"/>
                    <a:pt x="691760" y="212725"/>
                  </a:cubicBezTo>
                  <a:cubicBezTo>
                    <a:pt x="690263" y="215718"/>
                    <a:pt x="689643" y="219075"/>
                    <a:pt x="688585" y="222250"/>
                  </a:cubicBezTo>
                  <a:cubicBezTo>
                    <a:pt x="689643" y="228600"/>
                    <a:pt x="689284" y="235358"/>
                    <a:pt x="691760" y="241300"/>
                  </a:cubicBezTo>
                  <a:cubicBezTo>
                    <a:pt x="694695" y="248345"/>
                    <a:pt x="704460" y="260350"/>
                    <a:pt x="704460" y="260350"/>
                  </a:cubicBezTo>
                  <a:cubicBezTo>
                    <a:pt x="704224" y="261293"/>
                    <a:pt x="699788" y="280417"/>
                    <a:pt x="698110" y="282575"/>
                  </a:cubicBezTo>
                  <a:cubicBezTo>
                    <a:pt x="692597" y="289664"/>
                    <a:pt x="679060" y="301625"/>
                    <a:pt x="679060" y="301625"/>
                  </a:cubicBezTo>
                  <a:cubicBezTo>
                    <a:pt x="678002" y="304800"/>
                    <a:pt x="676611" y="307883"/>
                    <a:pt x="675885" y="311150"/>
                  </a:cubicBezTo>
                  <a:cubicBezTo>
                    <a:pt x="671711" y="329935"/>
                    <a:pt x="670006" y="349194"/>
                    <a:pt x="675885" y="368300"/>
                  </a:cubicBezTo>
                  <a:cubicBezTo>
                    <a:pt x="676869" y="371499"/>
                    <a:pt x="682192" y="370556"/>
                    <a:pt x="685410" y="371475"/>
                  </a:cubicBezTo>
                  <a:cubicBezTo>
                    <a:pt x="689606" y="372674"/>
                    <a:pt x="693930" y="373396"/>
                    <a:pt x="698110" y="374650"/>
                  </a:cubicBezTo>
                  <a:cubicBezTo>
                    <a:pt x="704521" y="376573"/>
                    <a:pt x="717160" y="381000"/>
                    <a:pt x="717160" y="381000"/>
                  </a:cubicBezTo>
                  <a:cubicBezTo>
                    <a:pt x="720335" y="383117"/>
                    <a:pt x="723272" y="385643"/>
                    <a:pt x="726685" y="387350"/>
                  </a:cubicBezTo>
                  <a:cubicBezTo>
                    <a:pt x="729678" y="388847"/>
                    <a:pt x="733597" y="388434"/>
                    <a:pt x="736210" y="390525"/>
                  </a:cubicBezTo>
                  <a:cubicBezTo>
                    <a:pt x="739190" y="392909"/>
                    <a:pt x="740443" y="396875"/>
                    <a:pt x="742560" y="400050"/>
                  </a:cubicBezTo>
                  <a:cubicBezTo>
                    <a:pt x="738072" y="422489"/>
                    <a:pt x="741092" y="410805"/>
                    <a:pt x="733035" y="434975"/>
                  </a:cubicBezTo>
                  <a:lnTo>
                    <a:pt x="729860" y="444500"/>
                  </a:lnTo>
                  <a:cubicBezTo>
                    <a:pt x="730918" y="450850"/>
                    <a:pt x="733035" y="457112"/>
                    <a:pt x="733035" y="463550"/>
                  </a:cubicBezTo>
                  <a:cubicBezTo>
                    <a:pt x="733035" y="483728"/>
                    <a:pt x="732097" y="499485"/>
                    <a:pt x="726685" y="517525"/>
                  </a:cubicBezTo>
                  <a:cubicBezTo>
                    <a:pt x="724762" y="523936"/>
                    <a:pt x="724048" y="531006"/>
                    <a:pt x="720335" y="536575"/>
                  </a:cubicBezTo>
                  <a:lnTo>
                    <a:pt x="713985" y="546100"/>
                  </a:lnTo>
                  <a:cubicBezTo>
                    <a:pt x="715043" y="568325"/>
                    <a:pt x="715312" y="590602"/>
                    <a:pt x="717160" y="612775"/>
                  </a:cubicBezTo>
                  <a:cubicBezTo>
                    <a:pt x="717438" y="616110"/>
                    <a:pt x="718838" y="619307"/>
                    <a:pt x="720335" y="622300"/>
                  </a:cubicBezTo>
                  <a:cubicBezTo>
                    <a:pt x="722042" y="625713"/>
                    <a:pt x="725135" y="628338"/>
                    <a:pt x="726685" y="631825"/>
                  </a:cubicBezTo>
                  <a:cubicBezTo>
                    <a:pt x="729403" y="637942"/>
                    <a:pt x="729322" y="645306"/>
                    <a:pt x="733035" y="650875"/>
                  </a:cubicBezTo>
                  <a:cubicBezTo>
                    <a:pt x="735152" y="654050"/>
                    <a:pt x="737678" y="656987"/>
                    <a:pt x="739385" y="660400"/>
                  </a:cubicBezTo>
                  <a:cubicBezTo>
                    <a:pt x="740882" y="663393"/>
                    <a:pt x="740469" y="667312"/>
                    <a:pt x="742560" y="669925"/>
                  </a:cubicBezTo>
                  <a:cubicBezTo>
                    <a:pt x="744944" y="672905"/>
                    <a:pt x="748910" y="674158"/>
                    <a:pt x="752085" y="676275"/>
                  </a:cubicBezTo>
                  <a:cubicBezTo>
                    <a:pt x="759493" y="698500"/>
                    <a:pt x="752085" y="693208"/>
                    <a:pt x="767960" y="698500"/>
                  </a:cubicBezTo>
                  <a:cubicBezTo>
                    <a:pt x="795257" y="716698"/>
                    <a:pt x="760720" y="694880"/>
                    <a:pt x="787010" y="708025"/>
                  </a:cubicBezTo>
                  <a:cubicBezTo>
                    <a:pt x="807785" y="718413"/>
                    <a:pt x="784994" y="709856"/>
                    <a:pt x="806060" y="723900"/>
                  </a:cubicBezTo>
                  <a:cubicBezTo>
                    <a:pt x="808970" y="725840"/>
                    <a:pt x="826361" y="729673"/>
                    <a:pt x="828285" y="730250"/>
                  </a:cubicBezTo>
                  <a:lnTo>
                    <a:pt x="856860" y="739775"/>
                  </a:lnTo>
                  <a:lnTo>
                    <a:pt x="866385" y="742950"/>
                  </a:lnTo>
                  <a:cubicBezTo>
                    <a:pt x="871677" y="741892"/>
                    <a:pt x="877054" y="741195"/>
                    <a:pt x="882260" y="739775"/>
                  </a:cubicBezTo>
                  <a:cubicBezTo>
                    <a:pt x="888718" y="738014"/>
                    <a:pt x="901310" y="733425"/>
                    <a:pt x="901310" y="733425"/>
                  </a:cubicBezTo>
                  <a:cubicBezTo>
                    <a:pt x="906186" y="726111"/>
                    <a:pt x="906961" y="720725"/>
                    <a:pt x="917185" y="720725"/>
                  </a:cubicBezTo>
                  <a:cubicBezTo>
                    <a:pt x="920532" y="720725"/>
                    <a:pt x="923535" y="722842"/>
                    <a:pt x="926710" y="723900"/>
                  </a:cubicBezTo>
                  <a:cubicBezTo>
                    <a:pt x="942476" y="747549"/>
                    <a:pt x="922213" y="718504"/>
                    <a:pt x="942585" y="742950"/>
                  </a:cubicBezTo>
                  <a:cubicBezTo>
                    <a:pt x="945028" y="745881"/>
                    <a:pt x="946492" y="749544"/>
                    <a:pt x="948935" y="752475"/>
                  </a:cubicBezTo>
                  <a:cubicBezTo>
                    <a:pt x="953333" y="757753"/>
                    <a:pt x="961374" y="765412"/>
                    <a:pt x="967985" y="768350"/>
                  </a:cubicBezTo>
                  <a:cubicBezTo>
                    <a:pt x="974102" y="771068"/>
                    <a:pt x="980685" y="772583"/>
                    <a:pt x="987035" y="774700"/>
                  </a:cubicBezTo>
                  <a:lnTo>
                    <a:pt x="996560" y="777875"/>
                  </a:lnTo>
                  <a:cubicBezTo>
                    <a:pt x="1000793" y="776817"/>
                    <a:pt x="1005064" y="775899"/>
                    <a:pt x="1009260" y="774700"/>
                  </a:cubicBezTo>
                  <a:cubicBezTo>
                    <a:pt x="1012478" y="773781"/>
                    <a:pt x="1015438" y="771525"/>
                    <a:pt x="1018785" y="771525"/>
                  </a:cubicBezTo>
                  <a:cubicBezTo>
                    <a:pt x="1026269" y="771525"/>
                    <a:pt x="1033602" y="773642"/>
                    <a:pt x="1041010" y="774700"/>
                  </a:cubicBezTo>
                  <a:cubicBezTo>
                    <a:pt x="1044185" y="775758"/>
                    <a:pt x="1048168" y="775508"/>
                    <a:pt x="1050535" y="777875"/>
                  </a:cubicBezTo>
                  <a:cubicBezTo>
                    <a:pt x="1052902" y="780242"/>
                    <a:pt x="1052213" y="784407"/>
                    <a:pt x="1053710" y="787400"/>
                  </a:cubicBezTo>
                  <a:cubicBezTo>
                    <a:pt x="1055417" y="790813"/>
                    <a:pt x="1057188" y="794412"/>
                    <a:pt x="1060060" y="796925"/>
                  </a:cubicBezTo>
                  <a:cubicBezTo>
                    <a:pt x="1065803" y="801951"/>
                    <a:pt x="1072760" y="805392"/>
                    <a:pt x="1079110" y="809625"/>
                  </a:cubicBezTo>
                  <a:cubicBezTo>
                    <a:pt x="1084679" y="813338"/>
                    <a:pt x="1098160" y="815975"/>
                    <a:pt x="1098160" y="815975"/>
                  </a:cubicBezTo>
                  <a:cubicBezTo>
                    <a:pt x="1101335" y="818092"/>
                    <a:pt x="1105172" y="819453"/>
                    <a:pt x="1107685" y="822325"/>
                  </a:cubicBezTo>
                  <a:cubicBezTo>
                    <a:pt x="1112711" y="828068"/>
                    <a:pt x="1120385" y="841375"/>
                    <a:pt x="1120385" y="841375"/>
                  </a:cubicBezTo>
                  <a:cubicBezTo>
                    <a:pt x="1119327" y="855133"/>
                    <a:pt x="1117210" y="868851"/>
                    <a:pt x="1117210" y="882650"/>
                  </a:cubicBezTo>
                  <a:cubicBezTo>
                    <a:pt x="1117210" y="890435"/>
                    <a:pt x="1121462" y="906008"/>
                    <a:pt x="1123560" y="914400"/>
                  </a:cubicBezTo>
                  <a:cubicBezTo>
                    <a:pt x="1122502" y="920750"/>
                    <a:pt x="1121782" y="927166"/>
                    <a:pt x="1120385" y="933450"/>
                  </a:cubicBezTo>
                  <a:cubicBezTo>
                    <a:pt x="1119659" y="936717"/>
                    <a:pt x="1119577" y="940608"/>
                    <a:pt x="1117210" y="942975"/>
                  </a:cubicBezTo>
                  <a:cubicBezTo>
                    <a:pt x="1111814" y="948371"/>
                    <a:pt x="1103556" y="950279"/>
                    <a:pt x="1098160" y="955675"/>
                  </a:cubicBezTo>
                  <a:cubicBezTo>
                    <a:pt x="1083239" y="970596"/>
                    <a:pt x="1092371" y="962709"/>
                    <a:pt x="1069585" y="977900"/>
                  </a:cubicBezTo>
                  <a:cubicBezTo>
                    <a:pt x="1066800" y="979756"/>
                    <a:pt x="1063235" y="980017"/>
                    <a:pt x="1060060" y="981075"/>
                  </a:cubicBezTo>
                  <a:cubicBezTo>
                    <a:pt x="1034660" y="980017"/>
                    <a:pt x="1009222" y="979649"/>
                    <a:pt x="983860" y="977900"/>
                  </a:cubicBezTo>
                  <a:cubicBezTo>
                    <a:pt x="978476" y="977529"/>
                    <a:pt x="973191" y="976145"/>
                    <a:pt x="967985" y="974725"/>
                  </a:cubicBezTo>
                  <a:cubicBezTo>
                    <a:pt x="961527" y="972964"/>
                    <a:pt x="948935" y="968375"/>
                    <a:pt x="948935" y="968375"/>
                  </a:cubicBezTo>
                  <a:cubicBezTo>
                    <a:pt x="940468" y="969433"/>
                    <a:pt x="931570" y="968680"/>
                    <a:pt x="923535" y="971550"/>
                  </a:cubicBezTo>
                  <a:cubicBezTo>
                    <a:pt x="916348" y="974117"/>
                    <a:pt x="910835" y="980017"/>
                    <a:pt x="904485" y="984250"/>
                  </a:cubicBezTo>
                  <a:lnTo>
                    <a:pt x="885435" y="996950"/>
                  </a:lnTo>
                  <a:cubicBezTo>
                    <a:pt x="879866" y="1000663"/>
                    <a:pt x="872735" y="1001183"/>
                    <a:pt x="866385" y="1003300"/>
                  </a:cubicBezTo>
                  <a:cubicBezTo>
                    <a:pt x="858224" y="1006020"/>
                    <a:pt x="852931" y="1008055"/>
                    <a:pt x="844160" y="1009650"/>
                  </a:cubicBezTo>
                  <a:cubicBezTo>
                    <a:pt x="834520" y="1011403"/>
                    <a:pt x="805380" y="1014894"/>
                    <a:pt x="796535" y="1016000"/>
                  </a:cubicBezTo>
                  <a:cubicBezTo>
                    <a:pt x="790185" y="1018117"/>
                    <a:pt x="783472" y="1019357"/>
                    <a:pt x="777485" y="1022350"/>
                  </a:cubicBezTo>
                  <a:cubicBezTo>
                    <a:pt x="761792" y="1030197"/>
                    <a:pt x="769275" y="1027203"/>
                    <a:pt x="755260" y="1031875"/>
                  </a:cubicBezTo>
                  <a:cubicBezTo>
                    <a:pt x="748910" y="1036108"/>
                    <a:pt x="740443" y="1038225"/>
                    <a:pt x="736210" y="1044575"/>
                  </a:cubicBezTo>
                  <a:cubicBezTo>
                    <a:pt x="724879" y="1061572"/>
                    <a:pt x="732558" y="1051402"/>
                    <a:pt x="710810" y="1073150"/>
                  </a:cubicBezTo>
                  <a:lnTo>
                    <a:pt x="701285" y="1082675"/>
                  </a:lnTo>
                  <a:lnTo>
                    <a:pt x="694935" y="1101725"/>
                  </a:lnTo>
                  <a:cubicBezTo>
                    <a:pt x="693555" y="1105865"/>
                    <a:pt x="696911" y="1110229"/>
                    <a:pt x="698110" y="1114425"/>
                  </a:cubicBezTo>
                  <a:cubicBezTo>
                    <a:pt x="704363" y="1136310"/>
                    <a:pt x="698730" y="1108621"/>
                    <a:pt x="704460" y="1143000"/>
                  </a:cubicBezTo>
                  <a:cubicBezTo>
                    <a:pt x="703402" y="1155700"/>
                    <a:pt x="702774" y="1168443"/>
                    <a:pt x="701285" y="1181100"/>
                  </a:cubicBezTo>
                  <a:cubicBezTo>
                    <a:pt x="700654" y="1186459"/>
                    <a:pt x="698997" y="1191652"/>
                    <a:pt x="698110" y="1196975"/>
                  </a:cubicBezTo>
                  <a:cubicBezTo>
                    <a:pt x="696880" y="1204357"/>
                    <a:pt x="695993" y="1211792"/>
                    <a:pt x="694935" y="1219200"/>
                  </a:cubicBezTo>
                  <a:cubicBezTo>
                    <a:pt x="702915" y="1243141"/>
                    <a:pt x="691222" y="1214559"/>
                    <a:pt x="707635" y="1235075"/>
                  </a:cubicBezTo>
                  <a:cubicBezTo>
                    <a:pt x="709726" y="1237688"/>
                    <a:pt x="709313" y="1241607"/>
                    <a:pt x="710810" y="1244600"/>
                  </a:cubicBezTo>
                  <a:cubicBezTo>
                    <a:pt x="723120" y="1269219"/>
                    <a:pt x="712355" y="1239709"/>
                    <a:pt x="720335" y="1263650"/>
                  </a:cubicBezTo>
                  <a:cubicBezTo>
                    <a:pt x="719277" y="1273175"/>
                    <a:pt x="718736" y="1282772"/>
                    <a:pt x="717160" y="1292225"/>
                  </a:cubicBezTo>
                  <a:cubicBezTo>
                    <a:pt x="716610" y="1295526"/>
                    <a:pt x="713985" y="1298403"/>
                    <a:pt x="713985" y="1301750"/>
                  </a:cubicBezTo>
                  <a:cubicBezTo>
                    <a:pt x="713985" y="1306628"/>
                    <a:pt x="717061" y="1323777"/>
                    <a:pt x="720335" y="1330325"/>
                  </a:cubicBezTo>
                  <a:cubicBezTo>
                    <a:pt x="722042" y="1333738"/>
                    <a:pt x="724978" y="1336437"/>
                    <a:pt x="726685" y="1339850"/>
                  </a:cubicBezTo>
                  <a:cubicBezTo>
                    <a:pt x="728182" y="1342843"/>
                    <a:pt x="727769" y="1346762"/>
                    <a:pt x="729860" y="1349375"/>
                  </a:cubicBezTo>
                  <a:cubicBezTo>
                    <a:pt x="732244" y="1352355"/>
                    <a:pt x="736454" y="1353282"/>
                    <a:pt x="739385" y="1355725"/>
                  </a:cubicBezTo>
                  <a:cubicBezTo>
                    <a:pt x="748552" y="1363365"/>
                    <a:pt x="749016" y="1365409"/>
                    <a:pt x="755260" y="1374775"/>
                  </a:cubicBezTo>
                  <a:cubicBezTo>
                    <a:pt x="754202" y="1377950"/>
                    <a:pt x="752085" y="1380953"/>
                    <a:pt x="752085" y="1384300"/>
                  </a:cubicBezTo>
                  <a:cubicBezTo>
                    <a:pt x="752085" y="1392280"/>
                    <a:pt x="758399" y="1396929"/>
                    <a:pt x="761610" y="1403350"/>
                  </a:cubicBezTo>
                  <a:cubicBezTo>
                    <a:pt x="763107" y="1406343"/>
                    <a:pt x="763727" y="1409700"/>
                    <a:pt x="764785" y="1412875"/>
                  </a:cubicBezTo>
                  <a:cubicBezTo>
                    <a:pt x="764374" y="1416986"/>
                    <a:pt x="762815" y="1456120"/>
                    <a:pt x="755260" y="1463675"/>
                  </a:cubicBezTo>
                  <a:cubicBezTo>
                    <a:pt x="752085" y="1466850"/>
                    <a:pt x="749751" y="1471192"/>
                    <a:pt x="745735" y="1473200"/>
                  </a:cubicBezTo>
                  <a:cubicBezTo>
                    <a:pt x="740908" y="1475613"/>
                    <a:pt x="735152" y="1475317"/>
                    <a:pt x="729860" y="1476375"/>
                  </a:cubicBezTo>
                  <a:cubicBezTo>
                    <a:pt x="727743" y="1473200"/>
                    <a:pt x="726208" y="1469548"/>
                    <a:pt x="723510" y="1466850"/>
                  </a:cubicBezTo>
                  <a:cubicBezTo>
                    <a:pt x="710703" y="1454043"/>
                    <a:pt x="702262" y="1461672"/>
                    <a:pt x="682235" y="1463675"/>
                  </a:cubicBezTo>
                  <a:cubicBezTo>
                    <a:pt x="679060" y="1464733"/>
                    <a:pt x="676057" y="1466850"/>
                    <a:pt x="672710" y="1466850"/>
                  </a:cubicBezTo>
                  <a:cubicBezTo>
                    <a:pt x="660381" y="1466850"/>
                    <a:pt x="647957" y="1464590"/>
                    <a:pt x="637785" y="1457325"/>
                  </a:cubicBezTo>
                  <a:cubicBezTo>
                    <a:pt x="634131" y="1454715"/>
                    <a:pt x="631435" y="1450975"/>
                    <a:pt x="628260" y="1447800"/>
                  </a:cubicBezTo>
                  <a:cubicBezTo>
                    <a:pt x="627202" y="1444625"/>
                    <a:pt x="626710" y="1441201"/>
                    <a:pt x="625085" y="1438275"/>
                  </a:cubicBezTo>
                  <a:cubicBezTo>
                    <a:pt x="618981" y="1427288"/>
                    <a:pt x="612435" y="1417679"/>
                    <a:pt x="602860" y="1409700"/>
                  </a:cubicBezTo>
                  <a:cubicBezTo>
                    <a:pt x="599929" y="1407257"/>
                    <a:pt x="597126" y="1403787"/>
                    <a:pt x="593335" y="1403350"/>
                  </a:cubicBezTo>
                  <a:cubicBezTo>
                    <a:pt x="569131" y="1400557"/>
                    <a:pt x="544652" y="1401233"/>
                    <a:pt x="520310" y="1400175"/>
                  </a:cubicBezTo>
                  <a:cubicBezTo>
                    <a:pt x="513960" y="1395942"/>
                    <a:pt x="506656" y="1392871"/>
                    <a:pt x="501260" y="1387475"/>
                  </a:cubicBezTo>
                  <a:cubicBezTo>
                    <a:pt x="495278" y="1381493"/>
                    <a:pt x="490167" y="1375136"/>
                    <a:pt x="482210" y="1371600"/>
                  </a:cubicBezTo>
                  <a:cubicBezTo>
                    <a:pt x="476093" y="1368882"/>
                    <a:pt x="469510" y="1367367"/>
                    <a:pt x="463160" y="1365250"/>
                  </a:cubicBezTo>
                  <a:cubicBezTo>
                    <a:pt x="435535" y="1356042"/>
                    <a:pt x="456977" y="1362261"/>
                    <a:pt x="396485" y="1358900"/>
                  </a:cubicBezTo>
                  <a:cubicBezTo>
                    <a:pt x="394368" y="1355725"/>
                    <a:pt x="391842" y="1352788"/>
                    <a:pt x="390135" y="1349375"/>
                  </a:cubicBezTo>
                  <a:cubicBezTo>
                    <a:pt x="382735" y="1334575"/>
                    <a:pt x="388503" y="1322874"/>
                    <a:pt x="390135" y="1304925"/>
                  </a:cubicBezTo>
                  <a:cubicBezTo>
                    <a:pt x="388018" y="1301750"/>
                    <a:pt x="387198" y="1297107"/>
                    <a:pt x="383785" y="1295400"/>
                  </a:cubicBezTo>
                  <a:cubicBezTo>
                    <a:pt x="375979" y="1291497"/>
                    <a:pt x="358385" y="1289050"/>
                    <a:pt x="358385" y="1289050"/>
                  </a:cubicBezTo>
                  <a:cubicBezTo>
                    <a:pt x="355164" y="1279388"/>
                    <a:pt x="352030" y="1278339"/>
                    <a:pt x="361560" y="1270000"/>
                  </a:cubicBezTo>
                  <a:cubicBezTo>
                    <a:pt x="367303" y="1264974"/>
                    <a:pt x="380610" y="1257300"/>
                    <a:pt x="380610" y="1257300"/>
                  </a:cubicBezTo>
                  <a:cubicBezTo>
                    <a:pt x="386197" y="1240540"/>
                    <a:pt x="385927" y="1245784"/>
                    <a:pt x="380610" y="1219200"/>
                  </a:cubicBezTo>
                  <a:cubicBezTo>
                    <a:pt x="375811" y="1195204"/>
                    <a:pt x="377000" y="1205343"/>
                    <a:pt x="364735" y="1190625"/>
                  </a:cubicBezTo>
                  <a:cubicBezTo>
                    <a:pt x="358943" y="1183674"/>
                    <a:pt x="357496" y="1176373"/>
                    <a:pt x="348860" y="1171575"/>
                  </a:cubicBezTo>
                  <a:cubicBezTo>
                    <a:pt x="343009" y="1168324"/>
                    <a:pt x="336160" y="1167342"/>
                    <a:pt x="329810" y="1165225"/>
                  </a:cubicBezTo>
                  <a:lnTo>
                    <a:pt x="310760" y="1158875"/>
                  </a:lnTo>
                  <a:cubicBezTo>
                    <a:pt x="289580" y="1151815"/>
                    <a:pt x="266186" y="1155682"/>
                    <a:pt x="244085" y="1152525"/>
                  </a:cubicBezTo>
                  <a:lnTo>
                    <a:pt x="221860" y="1149350"/>
                  </a:lnTo>
                  <a:cubicBezTo>
                    <a:pt x="181637" y="1144322"/>
                    <a:pt x="206221" y="1148762"/>
                    <a:pt x="177410" y="1143000"/>
                  </a:cubicBezTo>
                  <a:cubicBezTo>
                    <a:pt x="175293" y="1139825"/>
                    <a:pt x="172610" y="1136962"/>
                    <a:pt x="171060" y="1133475"/>
                  </a:cubicBezTo>
                  <a:cubicBezTo>
                    <a:pt x="164152" y="1117932"/>
                    <a:pt x="165798" y="1115933"/>
                    <a:pt x="161535" y="1101725"/>
                  </a:cubicBezTo>
                  <a:cubicBezTo>
                    <a:pt x="159612" y="1095314"/>
                    <a:pt x="160754" y="1086388"/>
                    <a:pt x="155185" y="1082675"/>
                  </a:cubicBezTo>
                  <a:lnTo>
                    <a:pt x="145660" y="1076325"/>
                  </a:lnTo>
                  <a:cubicBezTo>
                    <a:pt x="143543" y="1073150"/>
                    <a:pt x="141017" y="1070213"/>
                    <a:pt x="139310" y="1066800"/>
                  </a:cubicBezTo>
                  <a:cubicBezTo>
                    <a:pt x="131910" y="1052000"/>
                    <a:pt x="137678" y="1040299"/>
                    <a:pt x="139310" y="1022350"/>
                  </a:cubicBezTo>
                  <a:cubicBezTo>
                    <a:pt x="137218" y="1016075"/>
                    <a:pt x="135380" y="1007776"/>
                    <a:pt x="129785" y="1003300"/>
                  </a:cubicBezTo>
                  <a:cubicBezTo>
                    <a:pt x="127172" y="1001209"/>
                    <a:pt x="123435" y="1001183"/>
                    <a:pt x="120260" y="1000125"/>
                  </a:cubicBezTo>
                  <a:cubicBezTo>
                    <a:pt x="104413" y="989560"/>
                    <a:pt x="116129" y="995489"/>
                    <a:pt x="91685" y="990600"/>
                  </a:cubicBezTo>
                  <a:cubicBezTo>
                    <a:pt x="56626" y="983588"/>
                    <a:pt x="112848" y="990503"/>
                    <a:pt x="44060" y="984250"/>
                  </a:cubicBezTo>
                  <a:cubicBezTo>
                    <a:pt x="33390" y="952239"/>
                    <a:pt x="49670" y="1001892"/>
                    <a:pt x="37710" y="962025"/>
                  </a:cubicBezTo>
                  <a:cubicBezTo>
                    <a:pt x="35787" y="955614"/>
                    <a:pt x="35073" y="948544"/>
                    <a:pt x="31360" y="942975"/>
                  </a:cubicBezTo>
                  <a:cubicBezTo>
                    <a:pt x="29243" y="939800"/>
                    <a:pt x="26560" y="936937"/>
                    <a:pt x="25010" y="933450"/>
                  </a:cubicBezTo>
                  <a:cubicBezTo>
                    <a:pt x="22292" y="927333"/>
                    <a:pt x="20283" y="920894"/>
                    <a:pt x="18660" y="914400"/>
                  </a:cubicBezTo>
                  <a:cubicBezTo>
                    <a:pt x="17643" y="910331"/>
                    <a:pt x="14587" y="896730"/>
                    <a:pt x="12310" y="892175"/>
                  </a:cubicBezTo>
                  <a:cubicBezTo>
                    <a:pt x="0" y="867556"/>
                    <a:pt x="10765" y="897066"/>
                    <a:pt x="2785" y="873125"/>
                  </a:cubicBezTo>
                  <a:cubicBezTo>
                    <a:pt x="3843" y="867833"/>
                    <a:pt x="3283" y="861935"/>
                    <a:pt x="5960" y="857250"/>
                  </a:cubicBezTo>
                  <a:cubicBezTo>
                    <a:pt x="8856" y="852181"/>
                    <a:pt x="20121" y="849355"/>
                    <a:pt x="25010" y="847725"/>
                  </a:cubicBezTo>
                  <a:cubicBezTo>
                    <a:pt x="26068" y="844550"/>
                    <a:pt x="26688" y="841193"/>
                    <a:pt x="28185" y="838200"/>
                  </a:cubicBezTo>
                  <a:cubicBezTo>
                    <a:pt x="29892" y="834787"/>
                    <a:pt x="32985" y="832162"/>
                    <a:pt x="34535" y="828675"/>
                  </a:cubicBezTo>
                  <a:cubicBezTo>
                    <a:pt x="37253" y="822558"/>
                    <a:pt x="40885" y="809625"/>
                    <a:pt x="40885" y="809625"/>
                  </a:cubicBezTo>
                  <a:cubicBezTo>
                    <a:pt x="32905" y="785684"/>
                    <a:pt x="43670" y="815194"/>
                    <a:pt x="31360" y="790575"/>
                  </a:cubicBezTo>
                  <a:cubicBezTo>
                    <a:pt x="22170" y="772195"/>
                    <a:pt x="36716" y="789581"/>
                    <a:pt x="18660" y="771525"/>
                  </a:cubicBezTo>
                  <a:cubicBezTo>
                    <a:pt x="17602" y="768350"/>
                    <a:pt x="15485" y="765347"/>
                    <a:pt x="15485" y="762000"/>
                  </a:cubicBezTo>
                  <a:cubicBezTo>
                    <a:pt x="15485" y="757636"/>
                    <a:pt x="16239" y="752931"/>
                    <a:pt x="18660" y="749300"/>
                  </a:cubicBezTo>
                  <a:cubicBezTo>
                    <a:pt x="22177" y="744024"/>
                    <a:pt x="32277" y="741586"/>
                    <a:pt x="37710" y="739775"/>
                  </a:cubicBezTo>
                  <a:cubicBezTo>
                    <a:pt x="55296" y="728051"/>
                    <a:pt x="38908" y="737094"/>
                    <a:pt x="66285" y="730250"/>
                  </a:cubicBezTo>
                  <a:cubicBezTo>
                    <a:pt x="72779" y="728627"/>
                    <a:pt x="78841" y="725523"/>
                    <a:pt x="85335" y="723900"/>
                  </a:cubicBezTo>
                  <a:cubicBezTo>
                    <a:pt x="92841" y="722024"/>
                    <a:pt x="106655" y="718356"/>
                    <a:pt x="113910" y="717550"/>
                  </a:cubicBezTo>
                  <a:cubicBezTo>
                    <a:pt x="127625" y="716026"/>
                    <a:pt x="141427" y="715433"/>
                    <a:pt x="155185" y="714375"/>
                  </a:cubicBezTo>
                  <a:cubicBezTo>
                    <a:pt x="158360" y="712258"/>
                    <a:pt x="162197" y="710897"/>
                    <a:pt x="164710" y="708025"/>
                  </a:cubicBezTo>
                  <a:cubicBezTo>
                    <a:pt x="169736" y="702282"/>
                    <a:pt x="173177" y="695325"/>
                    <a:pt x="177410" y="688975"/>
                  </a:cubicBezTo>
                  <a:cubicBezTo>
                    <a:pt x="179527" y="685800"/>
                    <a:pt x="181062" y="682148"/>
                    <a:pt x="183760" y="679450"/>
                  </a:cubicBezTo>
                  <a:lnTo>
                    <a:pt x="193285" y="669925"/>
                  </a:lnTo>
                  <a:cubicBezTo>
                    <a:pt x="194343" y="666750"/>
                    <a:pt x="194369" y="663013"/>
                    <a:pt x="196460" y="660400"/>
                  </a:cubicBezTo>
                  <a:cubicBezTo>
                    <a:pt x="198844" y="657420"/>
                    <a:pt x="203963" y="657286"/>
                    <a:pt x="205985" y="654050"/>
                  </a:cubicBezTo>
                  <a:cubicBezTo>
                    <a:pt x="209533" y="648374"/>
                    <a:pt x="212335" y="635000"/>
                    <a:pt x="212335" y="635000"/>
                  </a:cubicBezTo>
                  <a:cubicBezTo>
                    <a:pt x="211277" y="629708"/>
                    <a:pt x="211837" y="623810"/>
                    <a:pt x="209160" y="619125"/>
                  </a:cubicBezTo>
                  <a:cubicBezTo>
                    <a:pt x="207267" y="615812"/>
                    <a:pt x="201052" y="616318"/>
                    <a:pt x="199635" y="612775"/>
                  </a:cubicBezTo>
                  <a:cubicBezTo>
                    <a:pt x="198392" y="609668"/>
                    <a:pt x="200954" y="606035"/>
                    <a:pt x="202810" y="603250"/>
                  </a:cubicBezTo>
                  <a:cubicBezTo>
                    <a:pt x="205301" y="599514"/>
                    <a:pt x="209460" y="597174"/>
                    <a:pt x="212335" y="593725"/>
                  </a:cubicBezTo>
                  <a:cubicBezTo>
                    <a:pt x="214778" y="590794"/>
                    <a:pt x="216568" y="587375"/>
                    <a:pt x="218685" y="584200"/>
                  </a:cubicBezTo>
                  <a:cubicBezTo>
                    <a:pt x="216413" y="572842"/>
                    <a:pt x="217335" y="566975"/>
                    <a:pt x="209160" y="558800"/>
                  </a:cubicBezTo>
                  <a:cubicBezTo>
                    <a:pt x="206462" y="556102"/>
                    <a:pt x="202810" y="554567"/>
                    <a:pt x="199635" y="552450"/>
                  </a:cubicBezTo>
                  <a:lnTo>
                    <a:pt x="186935" y="533400"/>
                  </a:lnTo>
                  <a:cubicBezTo>
                    <a:pt x="183942" y="528910"/>
                    <a:pt x="188215" y="522578"/>
                    <a:pt x="190110" y="517525"/>
                  </a:cubicBezTo>
                  <a:cubicBezTo>
                    <a:pt x="193638" y="508118"/>
                    <a:pt x="198224" y="506824"/>
                    <a:pt x="205985" y="501650"/>
                  </a:cubicBezTo>
                  <a:cubicBezTo>
                    <a:pt x="208102" y="498475"/>
                    <a:pt x="210628" y="495538"/>
                    <a:pt x="212335" y="492125"/>
                  </a:cubicBezTo>
                  <a:cubicBezTo>
                    <a:pt x="213832" y="489132"/>
                    <a:pt x="215880" y="485926"/>
                    <a:pt x="215510" y="482600"/>
                  </a:cubicBezTo>
                  <a:cubicBezTo>
                    <a:pt x="212965" y="459693"/>
                    <a:pt x="211872" y="467398"/>
                    <a:pt x="199635" y="457200"/>
                  </a:cubicBezTo>
                  <a:cubicBezTo>
                    <a:pt x="196186" y="454325"/>
                    <a:pt x="192867" y="451219"/>
                    <a:pt x="190110" y="447675"/>
                  </a:cubicBezTo>
                  <a:cubicBezTo>
                    <a:pt x="185425" y="441651"/>
                    <a:pt x="181643" y="434975"/>
                    <a:pt x="177410" y="428625"/>
                  </a:cubicBezTo>
                  <a:cubicBezTo>
                    <a:pt x="175293" y="425450"/>
                    <a:pt x="172267" y="422720"/>
                    <a:pt x="171060" y="419100"/>
                  </a:cubicBezTo>
                  <a:lnTo>
                    <a:pt x="167885" y="409575"/>
                  </a:lnTo>
                  <a:cubicBezTo>
                    <a:pt x="170002" y="406400"/>
                    <a:pt x="172685" y="403537"/>
                    <a:pt x="174235" y="400050"/>
                  </a:cubicBezTo>
                  <a:cubicBezTo>
                    <a:pt x="176953" y="393933"/>
                    <a:pt x="180585" y="381000"/>
                    <a:pt x="180585" y="381000"/>
                  </a:cubicBezTo>
                  <a:cubicBezTo>
                    <a:pt x="170522" y="365906"/>
                    <a:pt x="175442" y="375095"/>
                    <a:pt x="167885" y="352425"/>
                  </a:cubicBezTo>
                  <a:cubicBezTo>
                    <a:pt x="166678" y="348805"/>
                    <a:pt x="163085" y="346387"/>
                    <a:pt x="161535" y="342900"/>
                  </a:cubicBezTo>
                  <a:cubicBezTo>
                    <a:pt x="158817" y="336783"/>
                    <a:pt x="157302" y="330200"/>
                    <a:pt x="155185" y="323850"/>
                  </a:cubicBezTo>
                  <a:cubicBezTo>
                    <a:pt x="152772" y="316610"/>
                    <a:pt x="146718" y="311150"/>
                    <a:pt x="142485" y="304800"/>
                  </a:cubicBezTo>
                  <a:lnTo>
                    <a:pt x="110735" y="257175"/>
                  </a:lnTo>
                  <a:cubicBezTo>
                    <a:pt x="108879" y="254390"/>
                    <a:pt x="109185" y="250576"/>
                    <a:pt x="107560" y="247650"/>
                  </a:cubicBezTo>
                  <a:cubicBezTo>
                    <a:pt x="103854" y="240979"/>
                    <a:pt x="99093" y="234950"/>
                    <a:pt x="94860" y="228600"/>
                  </a:cubicBezTo>
                  <a:cubicBezTo>
                    <a:pt x="91147" y="223031"/>
                    <a:pt x="90627" y="215900"/>
                    <a:pt x="88510" y="209550"/>
                  </a:cubicBezTo>
                  <a:lnTo>
                    <a:pt x="85335" y="200025"/>
                  </a:lnTo>
                  <a:cubicBezTo>
                    <a:pt x="84277" y="196850"/>
                    <a:pt x="82710" y="193801"/>
                    <a:pt x="82160" y="190500"/>
                  </a:cubicBezTo>
                  <a:lnTo>
                    <a:pt x="78985" y="171450"/>
                  </a:lnTo>
                  <a:cubicBezTo>
                    <a:pt x="80043" y="168275"/>
                    <a:pt x="79437" y="163870"/>
                    <a:pt x="82160" y="161925"/>
                  </a:cubicBezTo>
                  <a:cubicBezTo>
                    <a:pt x="94499" y="153112"/>
                    <a:pt x="130337" y="153148"/>
                    <a:pt x="139310" y="152400"/>
                  </a:cubicBezTo>
                  <a:lnTo>
                    <a:pt x="158360" y="146050"/>
                  </a:lnTo>
                  <a:cubicBezTo>
                    <a:pt x="161980" y="144843"/>
                    <a:pt x="162012" y="139223"/>
                    <a:pt x="164710" y="136525"/>
                  </a:cubicBezTo>
                  <a:cubicBezTo>
                    <a:pt x="167408" y="133827"/>
                    <a:pt x="170748" y="131725"/>
                    <a:pt x="174235" y="130175"/>
                  </a:cubicBezTo>
                  <a:cubicBezTo>
                    <a:pt x="180352" y="127457"/>
                    <a:pt x="186935" y="125942"/>
                    <a:pt x="193285" y="123825"/>
                  </a:cubicBezTo>
                  <a:cubicBezTo>
                    <a:pt x="208917" y="118614"/>
                    <a:pt x="199509" y="121200"/>
                    <a:pt x="221860" y="117475"/>
                  </a:cubicBezTo>
                  <a:cubicBezTo>
                    <a:pt x="234560" y="118533"/>
                    <a:pt x="247389" y="118555"/>
                    <a:pt x="259960" y="120650"/>
                  </a:cubicBezTo>
                  <a:cubicBezTo>
                    <a:pt x="266562" y="121750"/>
                    <a:pt x="279010" y="127000"/>
                    <a:pt x="279010" y="127000"/>
                  </a:cubicBezTo>
                  <a:cubicBezTo>
                    <a:pt x="282185" y="129117"/>
                    <a:pt x="284742" y="132929"/>
                    <a:pt x="288535" y="133350"/>
                  </a:cubicBezTo>
                  <a:cubicBezTo>
                    <a:pt x="300632" y="134694"/>
                    <a:pt x="306809" y="129575"/>
                    <a:pt x="317110" y="127000"/>
                  </a:cubicBezTo>
                  <a:lnTo>
                    <a:pt x="342510" y="120650"/>
                  </a:lnTo>
                  <a:cubicBezTo>
                    <a:pt x="343568" y="117475"/>
                    <a:pt x="343318" y="113492"/>
                    <a:pt x="345685" y="111125"/>
                  </a:cubicBezTo>
                  <a:cubicBezTo>
                    <a:pt x="351081" y="105729"/>
                    <a:pt x="358385" y="102658"/>
                    <a:pt x="364735" y="98425"/>
                  </a:cubicBezTo>
                  <a:cubicBezTo>
                    <a:pt x="377996" y="89584"/>
                    <a:pt x="371562" y="94773"/>
                    <a:pt x="383785" y="82550"/>
                  </a:cubicBezTo>
                  <a:cubicBezTo>
                    <a:pt x="382193" y="72999"/>
                    <a:pt x="375729" y="60995"/>
                    <a:pt x="386960" y="53975"/>
                  </a:cubicBezTo>
                  <a:cubicBezTo>
                    <a:pt x="392636" y="50427"/>
                    <a:pt x="406010" y="47625"/>
                    <a:pt x="406010" y="47625"/>
                  </a:cubicBezTo>
                  <a:cubicBezTo>
                    <a:pt x="409185" y="45508"/>
                    <a:pt x="413151" y="44255"/>
                    <a:pt x="415535" y="41275"/>
                  </a:cubicBezTo>
                  <a:cubicBezTo>
                    <a:pt x="419298" y="36571"/>
                    <a:pt x="420239" y="26929"/>
                    <a:pt x="415535" y="22225"/>
                  </a:cubicBezTo>
                  <a:cubicBezTo>
                    <a:pt x="413168" y="19858"/>
                    <a:pt x="409185" y="20108"/>
                    <a:pt x="406010" y="19050"/>
                  </a:cubicBezTo>
                  <a:cubicBezTo>
                    <a:pt x="404952" y="15875"/>
                    <a:pt x="401592" y="12632"/>
                    <a:pt x="402835" y="9525"/>
                  </a:cubicBezTo>
                  <a:cubicBezTo>
                    <a:pt x="404252" y="5982"/>
                    <a:pt x="372673" y="4762"/>
                    <a:pt x="37426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3" name="Freeform 22"/>
            <p:cNvSpPr/>
            <p:nvPr>
              <p:custDataLst>
                <p:tags r:id="rId11"/>
              </p:custDataLst>
            </p:nvPr>
          </p:nvSpPr>
          <p:spPr bwMode="gray">
            <a:xfrm>
              <a:off x="3418074" y="3368675"/>
              <a:ext cx="1098550" cy="1524000"/>
            </a:xfrm>
            <a:custGeom>
              <a:avLst/>
              <a:gdLst>
                <a:gd name="connsiteX0" fmla="*/ 161925 w 1098550"/>
                <a:gd name="connsiteY0" fmla="*/ 644525 h 1524000"/>
                <a:gd name="connsiteX1" fmla="*/ 158750 w 1098550"/>
                <a:gd name="connsiteY1" fmla="*/ 704850 h 1524000"/>
                <a:gd name="connsiteX2" fmla="*/ 165100 w 1098550"/>
                <a:gd name="connsiteY2" fmla="*/ 714375 h 1524000"/>
                <a:gd name="connsiteX3" fmla="*/ 171450 w 1098550"/>
                <a:gd name="connsiteY3" fmla="*/ 733425 h 1524000"/>
                <a:gd name="connsiteX4" fmla="*/ 161925 w 1098550"/>
                <a:gd name="connsiteY4" fmla="*/ 762000 h 1524000"/>
                <a:gd name="connsiteX5" fmla="*/ 152400 w 1098550"/>
                <a:gd name="connsiteY5" fmla="*/ 768350 h 1524000"/>
                <a:gd name="connsiteX6" fmla="*/ 133350 w 1098550"/>
                <a:gd name="connsiteY6" fmla="*/ 774700 h 1524000"/>
                <a:gd name="connsiteX7" fmla="*/ 123825 w 1098550"/>
                <a:gd name="connsiteY7" fmla="*/ 771525 h 1524000"/>
                <a:gd name="connsiteX8" fmla="*/ 101600 w 1098550"/>
                <a:gd name="connsiteY8" fmla="*/ 777875 h 1524000"/>
                <a:gd name="connsiteX9" fmla="*/ 95250 w 1098550"/>
                <a:gd name="connsiteY9" fmla="*/ 796925 h 1524000"/>
                <a:gd name="connsiteX10" fmla="*/ 104775 w 1098550"/>
                <a:gd name="connsiteY10" fmla="*/ 866775 h 1524000"/>
                <a:gd name="connsiteX11" fmla="*/ 111125 w 1098550"/>
                <a:gd name="connsiteY11" fmla="*/ 876300 h 1524000"/>
                <a:gd name="connsiteX12" fmla="*/ 130175 w 1098550"/>
                <a:gd name="connsiteY12" fmla="*/ 895350 h 1524000"/>
                <a:gd name="connsiteX13" fmla="*/ 136525 w 1098550"/>
                <a:gd name="connsiteY13" fmla="*/ 904875 h 1524000"/>
                <a:gd name="connsiteX14" fmla="*/ 149225 w 1098550"/>
                <a:gd name="connsiteY14" fmla="*/ 936625 h 1524000"/>
                <a:gd name="connsiteX15" fmla="*/ 152400 w 1098550"/>
                <a:gd name="connsiteY15" fmla="*/ 946150 h 1524000"/>
                <a:gd name="connsiteX16" fmla="*/ 149225 w 1098550"/>
                <a:gd name="connsiteY16" fmla="*/ 962025 h 1524000"/>
                <a:gd name="connsiteX17" fmla="*/ 136525 w 1098550"/>
                <a:gd name="connsiteY17" fmla="*/ 965200 h 1524000"/>
                <a:gd name="connsiteX18" fmla="*/ 117475 w 1098550"/>
                <a:gd name="connsiteY18" fmla="*/ 971550 h 1524000"/>
                <a:gd name="connsiteX19" fmla="*/ 120650 w 1098550"/>
                <a:gd name="connsiteY19" fmla="*/ 990600 h 1524000"/>
                <a:gd name="connsiteX20" fmla="*/ 114300 w 1098550"/>
                <a:gd name="connsiteY20" fmla="*/ 1000125 h 1524000"/>
                <a:gd name="connsiteX21" fmla="*/ 104775 w 1098550"/>
                <a:gd name="connsiteY21" fmla="*/ 1003300 h 1524000"/>
                <a:gd name="connsiteX22" fmla="*/ 82550 w 1098550"/>
                <a:gd name="connsiteY22" fmla="*/ 1009650 h 1524000"/>
                <a:gd name="connsiteX23" fmla="*/ 63500 w 1098550"/>
                <a:gd name="connsiteY23" fmla="*/ 1000125 h 1524000"/>
                <a:gd name="connsiteX24" fmla="*/ 47625 w 1098550"/>
                <a:gd name="connsiteY24" fmla="*/ 1003300 h 1524000"/>
                <a:gd name="connsiteX25" fmla="*/ 38100 w 1098550"/>
                <a:gd name="connsiteY25" fmla="*/ 1022350 h 1524000"/>
                <a:gd name="connsiteX26" fmla="*/ 41275 w 1098550"/>
                <a:gd name="connsiteY26" fmla="*/ 1035050 h 1524000"/>
                <a:gd name="connsiteX27" fmla="*/ 50800 w 1098550"/>
                <a:gd name="connsiteY27" fmla="*/ 1044575 h 1524000"/>
                <a:gd name="connsiteX28" fmla="*/ 53975 w 1098550"/>
                <a:gd name="connsiteY28" fmla="*/ 1054100 h 1524000"/>
                <a:gd name="connsiteX29" fmla="*/ 47625 w 1098550"/>
                <a:gd name="connsiteY29" fmla="*/ 1063625 h 1524000"/>
                <a:gd name="connsiteX30" fmla="*/ 28575 w 1098550"/>
                <a:gd name="connsiteY30" fmla="*/ 1073150 h 1524000"/>
                <a:gd name="connsiteX31" fmla="*/ 19050 w 1098550"/>
                <a:gd name="connsiteY31" fmla="*/ 1079500 h 1524000"/>
                <a:gd name="connsiteX32" fmla="*/ 3175 w 1098550"/>
                <a:gd name="connsiteY32" fmla="*/ 1098550 h 1524000"/>
                <a:gd name="connsiteX33" fmla="*/ 0 w 1098550"/>
                <a:gd name="connsiteY33" fmla="*/ 1108075 h 1524000"/>
                <a:gd name="connsiteX34" fmla="*/ 3175 w 1098550"/>
                <a:gd name="connsiteY34" fmla="*/ 1127125 h 1524000"/>
                <a:gd name="connsiteX35" fmla="*/ 12700 w 1098550"/>
                <a:gd name="connsiteY35" fmla="*/ 1133475 h 1524000"/>
                <a:gd name="connsiteX36" fmla="*/ 34925 w 1098550"/>
                <a:gd name="connsiteY36" fmla="*/ 1158875 h 1524000"/>
                <a:gd name="connsiteX37" fmla="*/ 41275 w 1098550"/>
                <a:gd name="connsiteY37" fmla="*/ 1168400 h 1524000"/>
                <a:gd name="connsiteX38" fmla="*/ 60325 w 1098550"/>
                <a:gd name="connsiteY38" fmla="*/ 1177925 h 1524000"/>
                <a:gd name="connsiteX39" fmla="*/ 111125 w 1098550"/>
                <a:gd name="connsiteY39" fmla="*/ 1171575 h 1524000"/>
                <a:gd name="connsiteX40" fmla="*/ 130175 w 1098550"/>
                <a:gd name="connsiteY40" fmla="*/ 1165225 h 1524000"/>
                <a:gd name="connsiteX41" fmla="*/ 136525 w 1098550"/>
                <a:gd name="connsiteY41" fmla="*/ 1155700 h 1524000"/>
                <a:gd name="connsiteX42" fmla="*/ 171450 w 1098550"/>
                <a:gd name="connsiteY42" fmla="*/ 1139825 h 1524000"/>
                <a:gd name="connsiteX43" fmla="*/ 206375 w 1098550"/>
                <a:gd name="connsiteY43" fmla="*/ 1143000 h 1524000"/>
                <a:gd name="connsiteX44" fmla="*/ 215900 w 1098550"/>
                <a:gd name="connsiteY44" fmla="*/ 1146175 h 1524000"/>
                <a:gd name="connsiteX45" fmla="*/ 228600 w 1098550"/>
                <a:gd name="connsiteY45" fmla="*/ 1165225 h 1524000"/>
                <a:gd name="connsiteX46" fmla="*/ 234950 w 1098550"/>
                <a:gd name="connsiteY46" fmla="*/ 1174750 h 1524000"/>
                <a:gd name="connsiteX47" fmla="*/ 247650 w 1098550"/>
                <a:gd name="connsiteY47" fmla="*/ 1203325 h 1524000"/>
                <a:gd name="connsiteX48" fmla="*/ 250825 w 1098550"/>
                <a:gd name="connsiteY48" fmla="*/ 1212850 h 1524000"/>
                <a:gd name="connsiteX49" fmla="*/ 247650 w 1098550"/>
                <a:gd name="connsiteY49" fmla="*/ 1235075 h 1524000"/>
                <a:gd name="connsiteX50" fmla="*/ 244475 w 1098550"/>
                <a:gd name="connsiteY50" fmla="*/ 1244600 h 1524000"/>
                <a:gd name="connsiteX51" fmla="*/ 254000 w 1098550"/>
                <a:gd name="connsiteY51" fmla="*/ 1257300 h 1524000"/>
                <a:gd name="connsiteX52" fmla="*/ 269875 w 1098550"/>
                <a:gd name="connsiteY52" fmla="*/ 1276350 h 1524000"/>
                <a:gd name="connsiteX53" fmla="*/ 276225 w 1098550"/>
                <a:gd name="connsiteY53" fmla="*/ 1295400 h 1524000"/>
                <a:gd name="connsiteX54" fmla="*/ 279400 w 1098550"/>
                <a:gd name="connsiteY54" fmla="*/ 1308100 h 1524000"/>
                <a:gd name="connsiteX55" fmla="*/ 288925 w 1098550"/>
                <a:gd name="connsiteY55" fmla="*/ 1317625 h 1524000"/>
                <a:gd name="connsiteX56" fmla="*/ 295275 w 1098550"/>
                <a:gd name="connsiteY56" fmla="*/ 1327150 h 1524000"/>
                <a:gd name="connsiteX57" fmla="*/ 292100 w 1098550"/>
                <a:gd name="connsiteY57" fmla="*/ 1343025 h 1524000"/>
                <a:gd name="connsiteX58" fmla="*/ 273050 w 1098550"/>
                <a:gd name="connsiteY58" fmla="*/ 1352550 h 1524000"/>
                <a:gd name="connsiteX59" fmla="*/ 244475 w 1098550"/>
                <a:gd name="connsiteY59" fmla="*/ 1374775 h 1524000"/>
                <a:gd name="connsiteX60" fmla="*/ 250825 w 1098550"/>
                <a:gd name="connsiteY60" fmla="*/ 1397000 h 1524000"/>
                <a:gd name="connsiteX61" fmla="*/ 260350 w 1098550"/>
                <a:gd name="connsiteY61" fmla="*/ 1403350 h 1524000"/>
                <a:gd name="connsiteX62" fmla="*/ 263525 w 1098550"/>
                <a:gd name="connsiteY62" fmla="*/ 1412875 h 1524000"/>
                <a:gd name="connsiteX63" fmla="*/ 269875 w 1098550"/>
                <a:gd name="connsiteY63" fmla="*/ 1422400 h 1524000"/>
                <a:gd name="connsiteX64" fmla="*/ 282575 w 1098550"/>
                <a:gd name="connsiteY64" fmla="*/ 1447800 h 1524000"/>
                <a:gd name="connsiteX65" fmla="*/ 314325 w 1098550"/>
                <a:gd name="connsiteY65" fmla="*/ 1450975 h 1524000"/>
                <a:gd name="connsiteX66" fmla="*/ 330200 w 1098550"/>
                <a:gd name="connsiteY66" fmla="*/ 1466850 h 1524000"/>
                <a:gd name="connsiteX67" fmla="*/ 346075 w 1098550"/>
                <a:gd name="connsiteY67" fmla="*/ 1492250 h 1524000"/>
                <a:gd name="connsiteX68" fmla="*/ 365125 w 1098550"/>
                <a:gd name="connsiteY68" fmla="*/ 1482725 h 1524000"/>
                <a:gd name="connsiteX69" fmla="*/ 371475 w 1098550"/>
                <a:gd name="connsiteY69" fmla="*/ 1463675 h 1524000"/>
                <a:gd name="connsiteX70" fmla="*/ 365125 w 1098550"/>
                <a:gd name="connsiteY70" fmla="*/ 1454150 h 1524000"/>
                <a:gd name="connsiteX71" fmla="*/ 346075 w 1098550"/>
                <a:gd name="connsiteY71" fmla="*/ 1444625 h 1524000"/>
                <a:gd name="connsiteX72" fmla="*/ 349250 w 1098550"/>
                <a:gd name="connsiteY72" fmla="*/ 1431925 h 1524000"/>
                <a:gd name="connsiteX73" fmla="*/ 368300 w 1098550"/>
                <a:gd name="connsiteY73" fmla="*/ 1419225 h 1524000"/>
                <a:gd name="connsiteX74" fmla="*/ 403225 w 1098550"/>
                <a:gd name="connsiteY74" fmla="*/ 1431925 h 1524000"/>
                <a:gd name="connsiteX75" fmla="*/ 400050 w 1098550"/>
                <a:gd name="connsiteY75" fmla="*/ 1447800 h 1524000"/>
                <a:gd name="connsiteX76" fmla="*/ 403225 w 1098550"/>
                <a:gd name="connsiteY76" fmla="*/ 1470025 h 1524000"/>
                <a:gd name="connsiteX77" fmla="*/ 425450 w 1098550"/>
                <a:gd name="connsiteY77" fmla="*/ 1492250 h 1524000"/>
                <a:gd name="connsiteX78" fmla="*/ 438150 w 1098550"/>
                <a:gd name="connsiteY78" fmla="*/ 1495425 h 1524000"/>
                <a:gd name="connsiteX79" fmla="*/ 460375 w 1098550"/>
                <a:gd name="connsiteY79" fmla="*/ 1501775 h 1524000"/>
                <a:gd name="connsiteX80" fmla="*/ 485775 w 1098550"/>
                <a:gd name="connsiteY80" fmla="*/ 1508125 h 1524000"/>
                <a:gd name="connsiteX81" fmla="*/ 495300 w 1098550"/>
                <a:gd name="connsiteY81" fmla="*/ 1514475 h 1524000"/>
                <a:gd name="connsiteX82" fmla="*/ 527050 w 1098550"/>
                <a:gd name="connsiteY82" fmla="*/ 1524000 h 1524000"/>
                <a:gd name="connsiteX83" fmla="*/ 542925 w 1098550"/>
                <a:gd name="connsiteY83" fmla="*/ 1511300 h 1524000"/>
                <a:gd name="connsiteX84" fmla="*/ 552450 w 1098550"/>
                <a:gd name="connsiteY84" fmla="*/ 1504950 h 1524000"/>
                <a:gd name="connsiteX85" fmla="*/ 590550 w 1098550"/>
                <a:gd name="connsiteY85" fmla="*/ 1495425 h 1524000"/>
                <a:gd name="connsiteX86" fmla="*/ 587375 w 1098550"/>
                <a:gd name="connsiteY86" fmla="*/ 1479550 h 1524000"/>
                <a:gd name="connsiteX87" fmla="*/ 581025 w 1098550"/>
                <a:gd name="connsiteY87" fmla="*/ 1470025 h 1524000"/>
                <a:gd name="connsiteX88" fmla="*/ 577850 w 1098550"/>
                <a:gd name="connsiteY88" fmla="*/ 1460500 h 1524000"/>
                <a:gd name="connsiteX89" fmla="*/ 581025 w 1098550"/>
                <a:gd name="connsiteY89" fmla="*/ 1438275 h 1524000"/>
                <a:gd name="connsiteX90" fmla="*/ 587375 w 1098550"/>
                <a:gd name="connsiteY90" fmla="*/ 1419225 h 1524000"/>
                <a:gd name="connsiteX91" fmla="*/ 590550 w 1098550"/>
                <a:gd name="connsiteY91" fmla="*/ 1406525 h 1524000"/>
                <a:gd name="connsiteX92" fmla="*/ 596900 w 1098550"/>
                <a:gd name="connsiteY92" fmla="*/ 1387475 h 1524000"/>
                <a:gd name="connsiteX93" fmla="*/ 600075 w 1098550"/>
                <a:gd name="connsiteY93" fmla="*/ 1377950 h 1524000"/>
                <a:gd name="connsiteX94" fmla="*/ 609600 w 1098550"/>
                <a:gd name="connsiteY94" fmla="*/ 1343025 h 1524000"/>
                <a:gd name="connsiteX95" fmla="*/ 606425 w 1098550"/>
                <a:gd name="connsiteY95" fmla="*/ 1320800 h 1524000"/>
                <a:gd name="connsiteX96" fmla="*/ 590550 w 1098550"/>
                <a:gd name="connsiteY96" fmla="*/ 1292225 h 1524000"/>
                <a:gd name="connsiteX97" fmla="*/ 581025 w 1098550"/>
                <a:gd name="connsiteY97" fmla="*/ 1285875 h 1524000"/>
                <a:gd name="connsiteX98" fmla="*/ 568325 w 1098550"/>
                <a:gd name="connsiteY98" fmla="*/ 1266825 h 1524000"/>
                <a:gd name="connsiteX99" fmla="*/ 561975 w 1098550"/>
                <a:gd name="connsiteY99" fmla="*/ 1257300 h 1524000"/>
                <a:gd name="connsiteX100" fmla="*/ 555625 w 1098550"/>
                <a:gd name="connsiteY100" fmla="*/ 1238250 h 1524000"/>
                <a:gd name="connsiteX101" fmla="*/ 552450 w 1098550"/>
                <a:gd name="connsiteY101" fmla="*/ 1228725 h 1524000"/>
                <a:gd name="connsiteX102" fmla="*/ 552450 w 1098550"/>
                <a:gd name="connsiteY102" fmla="*/ 1139825 h 1524000"/>
                <a:gd name="connsiteX103" fmla="*/ 555625 w 1098550"/>
                <a:gd name="connsiteY103" fmla="*/ 1130300 h 1524000"/>
                <a:gd name="connsiteX104" fmla="*/ 536575 w 1098550"/>
                <a:gd name="connsiteY104" fmla="*/ 1114425 h 1524000"/>
                <a:gd name="connsiteX105" fmla="*/ 533400 w 1098550"/>
                <a:gd name="connsiteY105" fmla="*/ 1104900 h 1524000"/>
                <a:gd name="connsiteX106" fmla="*/ 536575 w 1098550"/>
                <a:gd name="connsiteY106" fmla="*/ 1095375 h 1524000"/>
                <a:gd name="connsiteX107" fmla="*/ 546100 w 1098550"/>
                <a:gd name="connsiteY107" fmla="*/ 1089025 h 1524000"/>
                <a:gd name="connsiteX108" fmla="*/ 565150 w 1098550"/>
                <a:gd name="connsiteY108" fmla="*/ 1076325 h 1524000"/>
                <a:gd name="connsiteX109" fmla="*/ 584200 w 1098550"/>
                <a:gd name="connsiteY109" fmla="*/ 1066800 h 1524000"/>
                <a:gd name="connsiteX110" fmla="*/ 593725 w 1098550"/>
                <a:gd name="connsiteY110" fmla="*/ 1060450 h 1524000"/>
                <a:gd name="connsiteX111" fmla="*/ 644525 w 1098550"/>
                <a:gd name="connsiteY111" fmla="*/ 1054100 h 1524000"/>
                <a:gd name="connsiteX112" fmla="*/ 685800 w 1098550"/>
                <a:gd name="connsiteY112" fmla="*/ 1057275 h 1524000"/>
                <a:gd name="connsiteX113" fmla="*/ 704850 w 1098550"/>
                <a:gd name="connsiteY113" fmla="*/ 1063625 h 1524000"/>
                <a:gd name="connsiteX114" fmla="*/ 723900 w 1098550"/>
                <a:gd name="connsiteY114" fmla="*/ 1076325 h 1524000"/>
                <a:gd name="connsiteX115" fmla="*/ 733425 w 1098550"/>
                <a:gd name="connsiteY115" fmla="*/ 1095375 h 1524000"/>
                <a:gd name="connsiteX116" fmla="*/ 742950 w 1098550"/>
                <a:gd name="connsiteY116" fmla="*/ 1098550 h 1524000"/>
                <a:gd name="connsiteX117" fmla="*/ 752475 w 1098550"/>
                <a:gd name="connsiteY117" fmla="*/ 1104900 h 1524000"/>
                <a:gd name="connsiteX118" fmla="*/ 777875 w 1098550"/>
                <a:gd name="connsiteY118" fmla="*/ 1092200 h 1524000"/>
                <a:gd name="connsiteX119" fmla="*/ 777875 w 1098550"/>
                <a:gd name="connsiteY119" fmla="*/ 1035050 h 1524000"/>
                <a:gd name="connsiteX120" fmla="*/ 771525 w 1098550"/>
                <a:gd name="connsiteY120" fmla="*/ 1016000 h 1524000"/>
                <a:gd name="connsiteX121" fmla="*/ 774700 w 1098550"/>
                <a:gd name="connsiteY121" fmla="*/ 1006475 h 1524000"/>
                <a:gd name="connsiteX122" fmla="*/ 793750 w 1098550"/>
                <a:gd name="connsiteY122" fmla="*/ 996950 h 1524000"/>
                <a:gd name="connsiteX123" fmla="*/ 825500 w 1098550"/>
                <a:gd name="connsiteY123" fmla="*/ 996950 h 1524000"/>
                <a:gd name="connsiteX124" fmla="*/ 841375 w 1098550"/>
                <a:gd name="connsiteY124" fmla="*/ 977900 h 1524000"/>
                <a:gd name="connsiteX125" fmla="*/ 844550 w 1098550"/>
                <a:gd name="connsiteY125" fmla="*/ 968375 h 1524000"/>
                <a:gd name="connsiteX126" fmla="*/ 854075 w 1098550"/>
                <a:gd name="connsiteY126" fmla="*/ 965200 h 1524000"/>
                <a:gd name="connsiteX127" fmla="*/ 863600 w 1098550"/>
                <a:gd name="connsiteY127" fmla="*/ 958850 h 1524000"/>
                <a:gd name="connsiteX128" fmla="*/ 873125 w 1098550"/>
                <a:gd name="connsiteY128" fmla="*/ 955675 h 1524000"/>
                <a:gd name="connsiteX129" fmla="*/ 882650 w 1098550"/>
                <a:gd name="connsiteY129" fmla="*/ 946150 h 1524000"/>
                <a:gd name="connsiteX130" fmla="*/ 882650 w 1098550"/>
                <a:gd name="connsiteY130" fmla="*/ 917575 h 1524000"/>
                <a:gd name="connsiteX131" fmla="*/ 885825 w 1098550"/>
                <a:gd name="connsiteY131" fmla="*/ 892175 h 1524000"/>
                <a:gd name="connsiteX132" fmla="*/ 889000 w 1098550"/>
                <a:gd name="connsiteY132" fmla="*/ 882650 h 1524000"/>
                <a:gd name="connsiteX133" fmla="*/ 911225 w 1098550"/>
                <a:gd name="connsiteY133" fmla="*/ 873125 h 1524000"/>
                <a:gd name="connsiteX134" fmla="*/ 962025 w 1098550"/>
                <a:gd name="connsiteY134" fmla="*/ 869950 h 1524000"/>
                <a:gd name="connsiteX135" fmla="*/ 981075 w 1098550"/>
                <a:gd name="connsiteY135" fmla="*/ 854075 h 1524000"/>
                <a:gd name="connsiteX136" fmla="*/ 996950 w 1098550"/>
                <a:gd name="connsiteY136" fmla="*/ 838200 h 1524000"/>
                <a:gd name="connsiteX137" fmla="*/ 1009650 w 1098550"/>
                <a:gd name="connsiteY137" fmla="*/ 819150 h 1524000"/>
                <a:gd name="connsiteX138" fmla="*/ 1016000 w 1098550"/>
                <a:gd name="connsiteY138" fmla="*/ 800100 h 1524000"/>
                <a:gd name="connsiteX139" fmla="*/ 1012825 w 1098550"/>
                <a:gd name="connsiteY139" fmla="*/ 787400 h 1524000"/>
                <a:gd name="connsiteX140" fmla="*/ 1009650 w 1098550"/>
                <a:gd name="connsiteY140" fmla="*/ 777875 h 1524000"/>
                <a:gd name="connsiteX141" fmla="*/ 1012825 w 1098550"/>
                <a:gd name="connsiteY141" fmla="*/ 730250 h 1524000"/>
                <a:gd name="connsiteX142" fmla="*/ 1016000 w 1098550"/>
                <a:gd name="connsiteY142" fmla="*/ 714375 h 1524000"/>
                <a:gd name="connsiteX143" fmla="*/ 1022350 w 1098550"/>
                <a:gd name="connsiteY143" fmla="*/ 695325 h 1524000"/>
                <a:gd name="connsiteX144" fmla="*/ 1012825 w 1098550"/>
                <a:gd name="connsiteY144" fmla="*/ 688975 h 1524000"/>
                <a:gd name="connsiteX145" fmla="*/ 974725 w 1098550"/>
                <a:gd name="connsiteY145" fmla="*/ 695325 h 1524000"/>
                <a:gd name="connsiteX146" fmla="*/ 968375 w 1098550"/>
                <a:gd name="connsiteY146" fmla="*/ 704850 h 1524000"/>
                <a:gd name="connsiteX147" fmla="*/ 946150 w 1098550"/>
                <a:gd name="connsiteY147" fmla="*/ 692150 h 1524000"/>
                <a:gd name="connsiteX148" fmla="*/ 952500 w 1098550"/>
                <a:gd name="connsiteY148" fmla="*/ 669925 h 1524000"/>
                <a:gd name="connsiteX149" fmla="*/ 962025 w 1098550"/>
                <a:gd name="connsiteY149" fmla="*/ 663575 h 1524000"/>
                <a:gd name="connsiteX150" fmla="*/ 965200 w 1098550"/>
                <a:gd name="connsiteY150" fmla="*/ 654050 h 1524000"/>
                <a:gd name="connsiteX151" fmla="*/ 974725 w 1098550"/>
                <a:gd name="connsiteY151" fmla="*/ 644525 h 1524000"/>
                <a:gd name="connsiteX152" fmla="*/ 971550 w 1098550"/>
                <a:gd name="connsiteY152" fmla="*/ 625475 h 1524000"/>
                <a:gd name="connsiteX153" fmla="*/ 965200 w 1098550"/>
                <a:gd name="connsiteY153" fmla="*/ 606425 h 1524000"/>
                <a:gd name="connsiteX154" fmla="*/ 968375 w 1098550"/>
                <a:gd name="connsiteY154" fmla="*/ 584200 h 1524000"/>
                <a:gd name="connsiteX155" fmla="*/ 990600 w 1098550"/>
                <a:gd name="connsiteY155" fmla="*/ 571500 h 1524000"/>
                <a:gd name="connsiteX156" fmla="*/ 1012825 w 1098550"/>
                <a:gd name="connsiteY156" fmla="*/ 565150 h 1524000"/>
                <a:gd name="connsiteX157" fmla="*/ 1022350 w 1098550"/>
                <a:gd name="connsiteY157" fmla="*/ 555625 h 1524000"/>
                <a:gd name="connsiteX158" fmla="*/ 1028700 w 1098550"/>
                <a:gd name="connsiteY158" fmla="*/ 536575 h 1524000"/>
                <a:gd name="connsiteX159" fmla="*/ 1022350 w 1098550"/>
                <a:gd name="connsiteY159" fmla="*/ 517525 h 1524000"/>
                <a:gd name="connsiteX160" fmla="*/ 1019175 w 1098550"/>
                <a:gd name="connsiteY160" fmla="*/ 504825 h 1524000"/>
                <a:gd name="connsiteX161" fmla="*/ 1012825 w 1098550"/>
                <a:gd name="connsiteY161" fmla="*/ 495300 h 1524000"/>
                <a:gd name="connsiteX162" fmla="*/ 1009650 w 1098550"/>
                <a:gd name="connsiteY162" fmla="*/ 485775 h 1524000"/>
                <a:gd name="connsiteX163" fmla="*/ 1012825 w 1098550"/>
                <a:gd name="connsiteY163" fmla="*/ 457200 h 1524000"/>
                <a:gd name="connsiteX164" fmla="*/ 1031875 w 1098550"/>
                <a:gd name="connsiteY164" fmla="*/ 444500 h 1524000"/>
                <a:gd name="connsiteX165" fmla="*/ 1079500 w 1098550"/>
                <a:gd name="connsiteY165" fmla="*/ 450850 h 1524000"/>
                <a:gd name="connsiteX166" fmla="*/ 1098550 w 1098550"/>
                <a:gd name="connsiteY166" fmla="*/ 447675 h 1524000"/>
                <a:gd name="connsiteX167" fmla="*/ 1089025 w 1098550"/>
                <a:gd name="connsiteY167" fmla="*/ 438150 h 1524000"/>
                <a:gd name="connsiteX168" fmla="*/ 1082675 w 1098550"/>
                <a:gd name="connsiteY168" fmla="*/ 428625 h 1524000"/>
                <a:gd name="connsiteX169" fmla="*/ 1063625 w 1098550"/>
                <a:gd name="connsiteY169" fmla="*/ 415925 h 1524000"/>
                <a:gd name="connsiteX170" fmla="*/ 1066800 w 1098550"/>
                <a:gd name="connsiteY170" fmla="*/ 393700 h 1524000"/>
                <a:gd name="connsiteX171" fmla="*/ 1069975 w 1098550"/>
                <a:gd name="connsiteY171" fmla="*/ 384175 h 1524000"/>
                <a:gd name="connsiteX172" fmla="*/ 1079500 w 1098550"/>
                <a:gd name="connsiteY172" fmla="*/ 381000 h 1524000"/>
                <a:gd name="connsiteX173" fmla="*/ 1089025 w 1098550"/>
                <a:gd name="connsiteY173" fmla="*/ 371475 h 1524000"/>
                <a:gd name="connsiteX174" fmla="*/ 1089025 w 1098550"/>
                <a:gd name="connsiteY174" fmla="*/ 320675 h 1524000"/>
                <a:gd name="connsiteX175" fmla="*/ 1069975 w 1098550"/>
                <a:gd name="connsiteY175" fmla="*/ 314325 h 1524000"/>
                <a:gd name="connsiteX176" fmla="*/ 1060450 w 1098550"/>
                <a:gd name="connsiteY176" fmla="*/ 307975 h 1524000"/>
                <a:gd name="connsiteX177" fmla="*/ 1047750 w 1098550"/>
                <a:gd name="connsiteY177" fmla="*/ 304800 h 1524000"/>
                <a:gd name="connsiteX178" fmla="*/ 1038225 w 1098550"/>
                <a:gd name="connsiteY178" fmla="*/ 301625 h 1524000"/>
                <a:gd name="connsiteX179" fmla="*/ 1022350 w 1098550"/>
                <a:gd name="connsiteY179" fmla="*/ 282575 h 1524000"/>
                <a:gd name="connsiteX180" fmla="*/ 1019175 w 1098550"/>
                <a:gd name="connsiteY180" fmla="*/ 273050 h 1524000"/>
                <a:gd name="connsiteX181" fmla="*/ 1003300 w 1098550"/>
                <a:gd name="connsiteY181" fmla="*/ 254000 h 1524000"/>
                <a:gd name="connsiteX182" fmla="*/ 993775 w 1098550"/>
                <a:gd name="connsiteY182" fmla="*/ 250825 h 1524000"/>
                <a:gd name="connsiteX183" fmla="*/ 984250 w 1098550"/>
                <a:gd name="connsiteY183" fmla="*/ 244475 h 1524000"/>
                <a:gd name="connsiteX184" fmla="*/ 977900 w 1098550"/>
                <a:gd name="connsiteY184" fmla="*/ 225425 h 1524000"/>
                <a:gd name="connsiteX185" fmla="*/ 971550 w 1098550"/>
                <a:gd name="connsiteY185" fmla="*/ 200025 h 1524000"/>
                <a:gd name="connsiteX186" fmla="*/ 968375 w 1098550"/>
                <a:gd name="connsiteY186" fmla="*/ 187325 h 1524000"/>
                <a:gd name="connsiteX187" fmla="*/ 958850 w 1098550"/>
                <a:gd name="connsiteY187" fmla="*/ 177800 h 1524000"/>
                <a:gd name="connsiteX188" fmla="*/ 939800 w 1098550"/>
                <a:gd name="connsiteY188" fmla="*/ 171450 h 1524000"/>
                <a:gd name="connsiteX189" fmla="*/ 904875 w 1098550"/>
                <a:gd name="connsiteY189" fmla="*/ 174625 h 1524000"/>
                <a:gd name="connsiteX190" fmla="*/ 895350 w 1098550"/>
                <a:gd name="connsiteY190" fmla="*/ 177800 h 1524000"/>
                <a:gd name="connsiteX191" fmla="*/ 889000 w 1098550"/>
                <a:gd name="connsiteY191" fmla="*/ 196850 h 1524000"/>
                <a:gd name="connsiteX192" fmla="*/ 892175 w 1098550"/>
                <a:gd name="connsiteY192" fmla="*/ 206375 h 1524000"/>
                <a:gd name="connsiteX193" fmla="*/ 898525 w 1098550"/>
                <a:gd name="connsiteY193" fmla="*/ 215900 h 1524000"/>
                <a:gd name="connsiteX194" fmla="*/ 904875 w 1098550"/>
                <a:gd name="connsiteY194" fmla="*/ 234950 h 1524000"/>
                <a:gd name="connsiteX195" fmla="*/ 901700 w 1098550"/>
                <a:gd name="connsiteY195" fmla="*/ 244475 h 1524000"/>
                <a:gd name="connsiteX196" fmla="*/ 879475 w 1098550"/>
                <a:gd name="connsiteY196" fmla="*/ 254000 h 1524000"/>
                <a:gd name="connsiteX197" fmla="*/ 869950 w 1098550"/>
                <a:gd name="connsiteY197" fmla="*/ 257175 h 1524000"/>
                <a:gd name="connsiteX198" fmla="*/ 841375 w 1098550"/>
                <a:gd name="connsiteY198" fmla="*/ 247650 h 1524000"/>
                <a:gd name="connsiteX199" fmla="*/ 831850 w 1098550"/>
                <a:gd name="connsiteY199" fmla="*/ 244475 h 1524000"/>
                <a:gd name="connsiteX200" fmla="*/ 803275 w 1098550"/>
                <a:gd name="connsiteY200" fmla="*/ 222250 h 1524000"/>
                <a:gd name="connsiteX201" fmla="*/ 796925 w 1098550"/>
                <a:gd name="connsiteY201" fmla="*/ 212725 h 1524000"/>
                <a:gd name="connsiteX202" fmla="*/ 793750 w 1098550"/>
                <a:gd name="connsiteY202" fmla="*/ 203200 h 1524000"/>
                <a:gd name="connsiteX203" fmla="*/ 796925 w 1098550"/>
                <a:gd name="connsiteY203" fmla="*/ 184150 h 1524000"/>
                <a:gd name="connsiteX204" fmla="*/ 800100 w 1098550"/>
                <a:gd name="connsiteY204" fmla="*/ 174625 h 1524000"/>
                <a:gd name="connsiteX205" fmla="*/ 819150 w 1098550"/>
                <a:gd name="connsiteY205" fmla="*/ 168275 h 1524000"/>
                <a:gd name="connsiteX206" fmla="*/ 835025 w 1098550"/>
                <a:gd name="connsiteY206" fmla="*/ 149225 h 1524000"/>
                <a:gd name="connsiteX207" fmla="*/ 828675 w 1098550"/>
                <a:gd name="connsiteY207" fmla="*/ 130175 h 1524000"/>
                <a:gd name="connsiteX208" fmla="*/ 822325 w 1098550"/>
                <a:gd name="connsiteY208" fmla="*/ 104775 h 1524000"/>
                <a:gd name="connsiteX209" fmla="*/ 815975 w 1098550"/>
                <a:gd name="connsiteY209" fmla="*/ 82550 h 1524000"/>
                <a:gd name="connsiteX210" fmla="*/ 822325 w 1098550"/>
                <a:gd name="connsiteY210" fmla="*/ 73025 h 1524000"/>
                <a:gd name="connsiteX211" fmla="*/ 835025 w 1098550"/>
                <a:gd name="connsiteY211" fmla="*/ 69850 h 1524000"/>
                <a:gd name="connsiteX212" fmla="*/ 844550 w 1098550"/>
                <a:gd name="connsiteY212" fmla="*/ 66675 h 1524000"/>
                <a:gd name="connsiteX213" fmla="*/ 854075 w 1098550"/>
                <a:gd name="connsiteY213" fmla="*/ 47625 h 1524000"/>
                <a:gd name="connsiteX214" fmla="*/ 838200 w 1098550"/>
                <a:gd name="connsiteY214" fmla="*/ 31750 h 1524000"/>
                <a:gd name="connsiteX215" fmla="*/ 812800 w 1098550"/>
                <a:gd name="connsiteY215" fmla="*/ 25400 h 1524000"/>
                <a:gd name="connsiteX216" fmla="*/ 793750 w 1098550"/>
                <a:gd name="connsiteY216" fmla="*/ 19050 h 1524000"/>
                <a:gd name="connsiteX217" fmla="*/ 774700 w 1098550"/>
                <a:gd name="connsiteY217" fmla="*/ 6350 h 1524000"/>
                <a:gd name="connsiteX218" fmla="*/ 765175 w 1098550"/>
                <a:gd name="connsiteY218" fmla="*/ 0 h 1524000"/>
                <a:gd name="connsiteX219" fmla="*/ 736600 w 1098550"/>
                <a:gd name="connsiteY219" fmla="*/ 3175 h 1524000"/>
                <a:gd name="connsiteX220" fmla="*/ 727075 w 1098550"/>
                <a:gd name="connsiteY220" fmla="*/ 9525 h 1524000"/>
                <a:gd name="connsiteX221" fmla="*/ 730250 w 1098550"/>
                <a:gd name="connsiteY221" fmla="*/ 31750 h 1524000"/>
                <a:gd name="connsiteX222" fmla="*/ 723900 w 1098550"/>
                <a:gd name="connsiteY222" fmla="*/ 60325 h 1524000"/>
                <a:gd name="connsiteX223" fmla="*/ 717550 w 1098550"/>
                <a:gd name="connsiteY223" fmla="*/ 69850 h 1524000"/>
                <a:gd name="connsiteX224" fmla="*/ 708025 w 1098550"/>
                <a:gd name="connsiteY224" fmla="*/ 79375 h 1524000"/>
                <a:gd name="connsiteX225" fmla="*/ 698500 w 1098550"/>
                <a:gd name="connsiteY225" fmla="*/ 82550 h 1524000"/>
                <a:gd name="connsiteX226" fmla="*/ 688975 w 1098550"/>
                <a:gd name="connsiteY226" fmla="*/ 92075 h 1524000"/>
                <a:gd name="connsiteX227" fmla="*/ 669925 w 1098550"/>
                <a:gd name="connsiteY227" fmla="*/ 104775 h 1524000"/>
                <a:gd name="connsiteX228" fmla="*/ 660400 w 1098550"/>
                <a:gd name="connsiteY228" fmla="*/ 114300 h 1524000"/>
                <a:gd name="connsiteX229" fmla="*/ 647700 w 1098550"/>
                <a:gd name="connsiteY229" fmla="*/ 123825 h 1524000"/>
                <a:gd name="connsiteX230" fmla="*/ 641350 w 1098550"/>
                <a:gd name="connsiteY230" fmla="*/ 133350 h 1524000"/>
                <a:gd name="connsiteX231" fmla="*/ 609600 w 1098550"/>
                <a:gd name="connsiteY231" fmla="*/ 149225 h 1524000"/>
                <a:gd name="connsiteX232" fmla="*/ 587375 w 1098550"/>
                <a:gd name="connsiteY232" fmla="*/ 142875 h 1524000"/>
                <a:gd name="connsiteX233" fmla="*/ 581025 w 1098550"/>
                <a:gd name="connsiteY233" fmla="*/ 133350 h 1524000"/>
                <a:gd name="connsiteX234" fmla="*/ 571500 w 1098550"/>
                <a:gd name="connsiteY234" fmla="*/ 127000 h 1524000"/>
                <a:gd name="connsiteX235" fmla="*/ 568325 w 1098550"/>
                <a:gd name="connsiteY235" fmla="*/ 117475 h 1524000"/>
                <a:gd name="connsiteX236" fmla="*/ 571500 w 1098550"/>
                <a:gd name="connsiteY236" fmla="*/ 101600 h 1524000"/>
                <a:gd name="connsiteX237" fmla="*/ 561975 w 1098550"/>
                <a:gd name="connsiteY237" fmla="*/ 95250 h 1524000"/>
                <a:gd name="connsiteX238" fmla="*/ 527050 w 1098550"/>
                <a:gd name="connsiteY238" fmla="*/ 107950 h 1524000"/>
                <a:gd name="connsiteX239" fmla="*/ 530225 w 1098550"/>
                <a:gd name="connsiteY239" fmla="*/ 139700 h 1524000"/>
                <a:gd name="connsiteX240" fmla="*/ 536575 w 1098550"/>
                <a:gd name="connsiteY240" fmla="*/ 158750 h 1524000"/>
                <a:gd name="connsiteX241" fmla="*/ 533400 w 1098550"/>
                <a:gd name="connsiteY241" fmla="*/ 174625 h 1524000"/>
                <a:gd name="connsiteX242" fmla="*/ 511175 w 1098550"/>
                <a:gd name="connsiteY242" fmla="*/ 190500 h 1524000"/>
                <a:gd name="connsiteX243" fmla="*/ 492125 w 1098550"/>
                <a:gd name="connsiteY243" fmla="*/ 196850 h 1524000"/>
                <a:gd name="connsiteX244" fmla="*/ 463550 w 1098550"/>
                <a:gd name="connsiteY244" fmla="*/ 193675 h 1524000"/>
                <a:gd name="connsiteX245" fmla="*/ 412750 w 1098550"/>
                <a:gd name="connsiteY245" fmla="*/ 200025 h 1524000"/>
                <a:gd name="connsiteX246" fmla="*/ 403225 w 1098550"/>
                <a:gd name="connsiteY246" fmla="*/ 206375 h 1524000"/>
                <a:gd name="connsiteX247" fmla="*/ 393700 w 1098550"/>
                <a:gd name="connsiteY247" fmla="*/ 209550 h 1524000"/>
                <a:gd name="connsiteX248" fmla="*/ 381000 w 1098550"/>
                <a:gd name="connsiteY248" fmla="*/ 228600 h 1524000"/>
                <a:gd name="connsiteX249" fmla="*/ 374650 w 1098550"/>
                <a:gd name="connsiteY249" fmla="*/ 247650 h 1524000"/>
                <a:gd name="connsiteX250" fmla="*/ 377825 w 1098550"/>
                <a:gd name="connsiteY250" fmla="*/ 273050 h 1524000"/>
                <a:gd name="connsiteX251" fmla="*/ 409575 w 1098550"/>
                <a:gd name="connsiteY251" fmla="*/ 266700 h 1524000"/>
                <a:gd name="connsiteX252" fmla="*/ 447675 w 1098550"/>
                <a:gd name="connsiteY252" fmla="*/ 269875 h 1524000"/>
                <a:gd name="connsiteX253" fmla="*/ 450850 w 1098550"/>
                <a:gd name="connsiteY253" fmla="*/ 298450 h 1524000"/>
                <a:gd name="connsiteX254" fmla="*/ 441325 w 1098550"/>
                <a:gd name="connsiteY254" fmla="*/ 327025 h 1524000"/>
                <a:gd name="connsiteX255" fmla="*/ 434975 w 1098550"/>
                <a:gd name="connsiteY255" fmla="*/ 336550 h 1524000"/>
                <a:gd name="connsiteX256" fmla="*/ 431800 w 1098550"/>
                <a:gd name="connsiteY256" fmla="*/ 349250 h 1524000"/>
                <a:gd name="connsiteX257" fmla="*/ 422275 w 1098550"/>
                <a:gd name="connsiteY257" fmla="*/ 384175 h 1524000"/>
                <a:gd name="connsiteX258" fmla="*/ 403225 w 1098550"/>
                <a:gd name="connsiteY258" fmla="*/ 390525 h 1524000"/>
                <a:gd name="connsiteX259" fmla="*/ 393700 w 1098550"/>
                <a:gd name="connsiteY259" fmla="*/ 393700 h 1524000"/>
                <a:gd name="connsiteX260" fmla="*/ 377825 w 1098550"/>
                <a:gd name="connsiteY260" fmla="*/ 390525 h 1524000"/>
                <a:gd name="connsiteX261" fmla="*/ 358775 w 1098550"/>
                <a:gd name="connsiteY261" fmla="*/ 384175 h 1524000"/>
                <a:gd name="connsiteX262" fmla="*/ 346075 w 1098550"/>
                <a:gd name="connsiteY262" fmla="*/ 387350 h 1524000"/>
                <a:gd name="connsiteX263" fmla="*/ 346075 w 1098550"/>
                <a:gd name="connsiteY263" fmla="*/ 457200 h 1524000"/>
                <a:gd name="connsiteX264" fmla="*/ 336550 w 1098550"/>
                <a:gd name="connsiteY264" fmla="*/ 460375 h 1524000"/>
                <a:gd name="connsiteX265" fmla="*/ 317500 w 1098550"/>
                <a:gd name="connsiteY265" fmla="*/ 473075 h 1524000"/>
                <a:gd name="connsiteX266" fmla="*/ 301625 w 1098550"/>
                <a:gd name="connsiteY266" fmla="*/ 501650 h 1524000"/>
                <a:gd name="connsiteX267" fmla="*/ 288925 w 1098550"/>
                <a:gd name="connsiteY267" fmla="*/ 520700 h 1524000"/>
                <a:gd name="connsiteX268" fmla="*/ 285750 w 1098550"/>
                <a:gd name="connsiteY268" fmla="*/ 533400 h 1524000"/>
                <a:gd name="connsiteX269" fmla="*/ 282575 w 1098550"/>
                <a:gd name="connsiteY269" fmla="*/ 549275 h 1524000"/>
                <a:gd name="connsiteX270" fmla="*/ 260350 w 1098550"/>
                <a:gd name="connsiteY270" fmla="*/ 558800 h 1524000"/>
                <a:gd name="connsiteX271" fmla="*/ 250825 w 1098550"/>
                <a:gd name="connsiteY271" fmla="*/ 552450 h 1524000"/>
                <a:gd name="connsiteX272" fmla="*/ 231775 w 1098550"/>
                <a:gd name="connsiteY272" fmla="*/ 546100 h 1524000"/>
                <a:gd name="connsiteX273" fmla="*/ 209550 w 1098550"/>
                <a:gd name="connsiteY273" fmla="*/ 549275 h 1524000"/>
                <a:gd name="connsiteX274" fmla="*/ 200025 w 1098550"/>
                <a:gd name="connsiteY274" fmla="*/ 555625 h 1524000"/>
                <a:gd name="connsiteX275" fmla="*/ 177800 w 1098550"/>
                <a:gd name="connsiteY275" fmla="*/ 584200 h 1524000"/>
                <a:gd name="connsiteX276" fmla="*/ 174625 w 1098550"/>
                <a:gd name="connsiteY276" fmla="*/ 593725 h 1524000"/>
                <a:gd name="connsiteX277" fmla="*/ 165100 w 1098550"/>
                <a:gd name="connsiteY277" fmla="*/ 600075 h 1524000"/>
                <a:gd name="connsiteX278" fmla="*/ 158750 w 1098550"/>
                <a:gd name="connsiteY278" fmla="*/ 609600 h 1524000"/>
                <a:gd name="connsiteX279" fmla="*/ 168275 w 1098550"/>
                <a:gd name="connsiteY279" fmla="*/ 628650 h 1524000"/>
                <a:gd name="connsiteX280" fmla="*/ 158750 w 1098550"/>
                <a:gd name="connsiteY280" fmla="*/ 650875 h 1524000"/>
                <a:gd name="connsiteX281" fmla="*/ 149225 w 1098550"/>
                <a:gd name="connsiteY281" fmla="*/ 657225 h 1524000"/>
                <a:gd name="connsiteX282" fmla="*/ 161925 w 1098550"/>
                <a:gd name="connsiteY282" fmla="*/ 644525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1098550" h="1524000">
                  <a:moveTo>
                    <a:pt x="161925" y="644525"/>
                  </a:moveTo>
                  <a:cubicBezTo>
                    <a:pt x="152857" y="671728"/>
                    <a:pt x="151668" y="667081"/>
                    <a:pt x="158750" y="704850"/>
                  </a:cubicBezTo>
                  <a:cubicBezTo>
                    <a:pt x="159453" y="708601"/>
                    <a:pt x="163550" y="710888"/>
                    <a:pt x="165100" y="714375"/>
                  </a:cubicBezTo>
                  <a:cubicBezTo>
                    <a:pt x="167818" y="720492"/>
                    <a:pt x="171450" y="733425"/>
                    <a:pt x="171450" y="733425"/>
                  </a:cubicBezTo>
                  <a:cubicBezTo>
                    <a:pt x="169321" y="746197"/>
                    <a:pt x="170854" y="753071"/>
                    <a:pt x="161925" y="762000"/>
                  </a:cubicBezTo>
                  <a:cubicBezTo>
                    <a:pt x="159227" y="764698"/>
                    <a:pt x="155887" y="766800"/>
                    <a:pt x="152400" y="768350"/>
                  </a:cubicBezTo>
                  <a:cubicBezTo>
                    <a:pt x="146283" y="771068"/>
                    <a:pt x="133350" y="774700"/>
                    <a:pt x="133350" y="774700"/>
                  </a:cubicBezTo>
                  <a:cubicBezTo>
                    <a:pt x="130175" y="773642"/>
                    <a:pt x="127172" y="771525"/>
                    <a:pt x="123825" y="771525"/>
                  </a:cubicBezTo>
                  <a:cubicBezTo>
                    <a:pt x="119838" y="771525"/>
                    <a:pt x="106092" y="776378"/>
                    <a:pt x="101600" y="777875"/>
                  </a:cubicBezTo>
                  <a:cubicBezTo>
                    <a:pt x="99483" y="784225"/>
                    <a:pt x="94773" y="790249"/>
                    <a:pt x="95250" y="796925"/>
                  </a:cubicBezTo>
                  <a:cubicBezTo>
                    <a:pt x="99047" y="850080"/>
                    <a:pt x="94822" y="826964"/>
                    <a:pt x="104775" y="866775"/>
                  </a:cubicBezTo>
                  <a:cubicBezTo>
                    <a:pt x="105700" y="870477"/>
                    <a:pt x="108590" y="873448"/>
                    <a:pt x="111125" y="876300"/>
                  </a:cubicBezTo>
                  <a:cubicBezTo>
                    <a:pt x="117091" y="883012"/>
                    <a:pt x="123825" y="889000"/>
                    <a:pt x="130175" y="895350"/>
                  </a:cubicBezTo>
                  <a:cubicBezTo>
                    <a:pt x="132873" y="898048"/>
                    <a:pt x="134632" y="901562"/>
                    <a:pt x="136525" y="904875"/>
                  </a:cubicBezTo>
                  <a:cubicBezTo>
                    <a:pt x="144000" y="917956"/>
                    <a:pt x="144021" y="921013"/>
                    <a:pt x="149225" y="936625"/>
                  </a:cubicBezTo>
                  <a:lnTo>
                    <a:pt x="152400" y="946150"/>
                  </a:lnTo>
                  <a:cubicBezTo>
                    <a:pt x="151342" y="951442"/>
                    <a:pt x="152680" y="957879"/>
                    <a:pt x="149225" y="962025"/>
                  </a:cubicBezTo>
                  <a:cubicBezTo>
                    <a:pt x="146431" y="965377"/>
                    <a:pt x="140705" y="963946"/>
                    <a:pt x="136525" y="965200"/>
                  </a:cubicBezTo>
                  <a:cubicBezTo>
                    <a:pt x="130114" y="967123"/>
                    <a:pt x="123825" y="969433"/>
                    <a:pt x="117475" y="971550"/>
                  </a:cubicBezTo>
                  <a:cubicBezTo>
                    <a:pt x="105896" y="1006288"/>
                    <a:pt x="120650" y="953671"/>
                    <a:pt x="120650" y="990600"/>
                  </a:cubicBezTo>
                  <a:cubicBezTo>
                    <a:pt x="120650" y="994416"/>
                    <a:pt x="117280" y="997741"/>
                    <a:pt x="114300" y="1000125"/>
                  </a:cubicBezTo>
                  <a:cubicBezTo>
                    <a:pt x="111687" y="1002216"/>
                    <a:pt x="107993" y="1002381"/>
                    <a:pt x="104775" y="1003300"/>
                  </a:cubicBezTo>
                  <a:cubicBezTo>
                    <a:pt x="76868" y="1011273"/>
                    <a:pt x="105388" y="1002037"/>
                    <a:pt x="82550" y="1009650"/>
                  </a:cubicBezTo>
                  <a:cubicBezTo>
                    <a:pt x="77734" y="1006439"/>
                    <a:pt x="70073" y="1000125"/>
                    <a:pt x="63500" y="1000125"/>
                  </a:cubicBezTo>
                  <a:cubicBezTo>
                    <a:pt x="58104" y="1000125"/>
                    <a:pt x="52917" y="1002242"/>
                    <a:pt x="47625" y="1003300"/>
                  </a:cubicBezTo>
                  <a:cubicBezTo>
                    <a:pt x="44414" y="1008116"/>
                    <a:pt x="38100" y="1015777"/>
                    <a:pt x="38100" y="1022350"/>
                  </a:cubicBezTo>
                  <a:cubicBezTo>
                    <a:pt x="38100" y="1026714"/>
                    <a:pt x="39110" y="1031261"/>
                    <a:pt x="41275" y="1035050"/>
                  </a:cubicBezTo>
                  <a:cubicBezTo>
                    <a:pt x="43503" y="1038949"/>
                    <a:pt x="47625" y="1041400"/>
                    <a:pt x="50800" y="1044575"/>
                  </a:cubicBezTo>
                  <a:cubicBezTo>
                    <a:pt x="51858" y="1047750"/>
                    <a:pt x="54525" y="1050799"/>
                    <a:pt x="53975" y="1054100"/>
                  </a:cubicBezTo>
                  <a:cubicBezTo>
                    <a:pt x="53348" y="1057864"/>
                    <a:pt x="50323" y="1060927"/>
                    <a:pt x="47625" y="1063625"/>
                  </a:cubicBezTo>
                  <a:cubicBezTo>
                    <a:pt x="41470" y="1069780"/>
                    <a:pt x="36322" y="1070568"/>
                    <a:pt x="28575" y="1073150"/>
                  </a:cubicBezTo>
                  <a:cubicBezTo>
                    <a:pt x="25400" y="1075267"/>
                    <a:pt x="21981" y="1077057"/>
                    <a:pt x="19050" y="1079500"/>
                  </a:cubicBezTo>
                  <a:cubicBezTo>
                    <a:pt x="13031" y="1084516"/>
                    <a:pt x="6743" y="1091414"/>
                    <a:pt x="3175" y="1098550"/>
                  </a:cubicBezTo>
                  <a:cubicBezTo>
                    <a:pt x="1678" y="1101543"/>
                    <a:pt x="1058" y="1104900"/>
                    <a:pt x="0" y="1108075"/>
                  </a:cubicBezTo>
                  <a:cubicBezTo>
                    <a:pt x="1058" y="1114425"/>
                    <a:pt x="296" y="1121367"/>
                    <a:pt x="3175" y="1127125"/>
                  </a:cubicBezTo>
                  <a:cubicBezTo>
                    <a:pt x="4882" y="1130538"/>
                    <a:pt x="10187" y="1130603"/>
                    <a:pt x="12700" y="1133475"/>
                  </a:cubicBezTo>
                  <a:cubicBezTo>
                    <a:pt x="38629" y="1163108"/>
                    <a:pt x="13494" y="1144587"/>
                    <a:pt x="34925" y="1158875"/>
                  </a:cubicBezTo>
                  <a:cubicBezTo>
                    <a:pt x="37042" y="1162050"/>
                    <a:pt x="38577" y="1165702"/>
                    <a:pt x="41275" y="1168400"/>
                  </a:cubicBezTo>
                  <a:cubicBezTo>
                    <a:pt x="47430" y="1174555"/>
                    <a:pt x="52578" y="1175343"/>
                    <a:pt x="60325" y="1177925"/>
                  </a:cubicBezTo>
                  <a:cubicBezTo>
                    <a:pt x="76937" y="1176415"/>
                    <a:pt x="94722" y="1176048"/>
                    <a:pt x="111125" y="1171575"/>
                  </a:cubicBezTo>
                  <a:cubicBezTo>
                    <a:pt x="117583" y="1169814"/>
                    <a:pt x="130175" y="1165225"/>
                    <a:pt x="130175" y="1165225"/>
                  </a:cubicBezTo>
                  <a:cubicBezTo>
                    <a:pt x="132292" y="1162050"/>
                    <a:pt x="133653" y="1158213"/>
                    <a:pt x="136525" y="1155700"/>
                  </a:cubicBezTo>
                  <a:cubicBezTo>
                    <a:pt x="152800" y="1141460"/>
                    <a:pt x="153229" y="1143469"/>
                    <a:pt x="171450" y="1139825"/>
                  </a:cubicBezTo>
                  <a:cubicBezTo>
                    <a:pt x="183092" y="1140883"/>
                    <a:pt x="194803" y="1141347"/>
                    <a:pt x="206375" y="1143000"/>
                  </a:cubicBezTo>
                  <a:cubicBezTo>
                    <a:pt x="209688" y="1143473"/>
                    <a:pt x="213533" y="1143808"/>
                    <a:pt x="215900" y="1146175"/>
                  </a:cubicBezTo>
                  <a:cubicBezTo>
                    <a:pt x="221296" y="1151571"/>
                    <a:pt x="224367" y="1158875"/>
                    <a:pt x="228600" y="1165225"/>
                  </a:cubicBezTo>
                  <a:lnTo>
                    <a:pt x="234950" y="1174750"/>
                  </a:lnTo>
                  <a:cubicBezTo>
                    <a:pt x="245013" y="1189844"/>
                    <a:pt x="240093" y="1180655"/>
                    <a:pt x="247650" y="1203325"/>
                  </a:cubicBezTo>
                  <a:lnTo>
                    <a:pt x="250825" y="1212850"/>
                  </a:lnTo>
                  <a:cubicBezTo>
                    <a:pt x="249767" y="1220258"/>
                    <a:pt x="249118" y="1227737"/>
                    <a:pt x="247650" y="1235075"/>
                  </a:cubicBezTo>
                  <a:cubicBezTo>
                    <a:pt x="246994" y="1238357"/>
                    <a:pt x="243556" y="1241382"/>
                    <a:pt x="244475" y="1244600"/>
                  </a:cubicBezTo>
                  <a:cubicBezTo>
                    <a:pt x="245929" y="1249688"/>
                    <a:pt x="250556" y="1253282"/>
                    <a:pt x="254000" y="1257300"/>
                  </a:cubicBezTo>
                  <a:cubicBezTo>
                    <a:pt x="260902" y="1265352"/>
                    <a:pt x="265557" y="1266634"/>
                    <a:pt x="269875" y="1276350"/>
                  </a:cubicBezTo>
                  <a:cubicBezTo>
                    <a:pt x="272593" y="1282467"/>
                    <a:pt x="274602" y="1288906"/>
                    <a:pt x="276225" y="1295400"/>
                  </a:cubicBezTo>
                  <a:cubicBezTo>
                    <a:pt x="277283" y="1299633"/>
                    <a:pt x="277235" y="1304311"/>
                    <a:pt x="279400" y="1308100"/>
                  </a:cubicBezTo>
                  <a:cubicBezTo>
                    <a:pt x="281628" y="1311999"/>
                    <a:pt x="286050" y="1314176"/>
                    <a:pt x="288925" y="1317625"/>
                  </a:cubicBezTo>
                  <a:cubicBezTo>
                    <a:pt x="291368" y="1320556"/>
                    <a:pt x="293158" y="1323975"/>
                    <a:pt x="295275" y="1327150"/>
                  </a:cubicBezTo>
                  <a:cubicBezTo>
                    <a:pt x="294217" y="1332442"/>
                    <a:pt x="294777" y="1338340"/>
                    <a:pt x="292100" y="1343025"/>
                  </a:cubicBezTo>
                  <a:cubicBezTo>
                    <a:pt x="289204" y="1348094"/>
                    <a:pt x="277939" y="1350920"/>
                    <a:pt x="273050" y="1352550"/>
                  </a:cubicBezTo>
                  <a:cubicBezTo>
                    <a:pt x="250264" y="1367741"/>
                    <a:pt x="259396" y="1359854"/>
                    <a:pt x="244475" y="1374775"/>
                  </a:cubicBezTo>
                  <a:cubicBezTo>
                    <a:pt x="244682" y="1375605"/>
                    <a:pt x="249169" y="1394930"/>
                    <a:pt x="250825" y="1397000"/>
                  </a:cubicBezTo>
                  <a:cubicBezTo>
                    <a:pt x="253209" y="1399980"/>
                    <a:pt x="257175" y="1401233"/>
                    <a:pt x="260350" y="1403350"/>
                  </a:cubicBezTo>
                  <a:cubicBezTo>
                    <a:pt x="261408" y="1406525"/>
                    <a:pt x="262028" y="1409882"/>
                    <a:pt x="263525" y="1412875"/>
                  </a:cubicBezTo>
                  <a:cubicBezTo>
                    <a:pt x="265232" y="1416288"/>
                    <a:pt x="268668" y="1418780"/>
                    <a:pt x="269875" y="1422400"/>
                  </a:cubicBezTo>
                  <a:cubicBezTo>
                    <a:pt x="273845" y="1434309"/>
                    <a:pt x="267594" y="1444343"/>
                    <a:pt x="282575" y="1447800"/>
                  </a:cubicBezTo>
                  <a:cubicBezTo>
                    <a:pt x="292939" y="1450192"/>
                    <a:pt x="303742" y="1449917"/>
                    <a:pt x="314325" y="1450975"/>
                  </a:cubicBezTo>
                  <a:cubicBezTo>
                    <a:pt x="323014" y="1456768"/>
                    <a:pt x="325744" y="1456824"/>
                    <a:pt x="330200" y="1466850"/>
                  </a:cubicBezTo>
                  <a:cubicBezTo>
                    <a:pt x="341336" y="1491906"/>
                    <a:pt x="328940" y="1480827"/>
                    <a:pt x="346075" y="1492250"/>
                  </a:cubicBezTo>
                  <a:cubicBezTo>
                    <a:pt x="351265" y="1490520"/>
                    <a:pt x="361886" y="1487908"/>
                    <a:pt x="365125" y="1482725"/>
                  </a:cubicBezTo>
                  <a:cubicBezTo>
                    <a:pt x="368673" y="1477049"/>
                    <a:pt x="371475" y="1463675"/>
                    <a:pt x="371475" y="1463675"/>
                  </a:cubicBezTo>
                  <a:cubicBezTo>
                    <a:pt x="369358" y="1460500"/>
                    <a:pt x="367823" y="1456848"/>
                    <a:pt x="365125" y="1454150"/>
                  </a:cubicBezTo>
                  <a:cubicBezTo>
                    <a:pt x="358970" y="1447995"/>
                    <a:pt x="353822" y="1447207"/>
                    <a:pt x="346075" y="1444625"/>
                  </a:cubicBezTo>
                  <a:cubicBezTo>
                    <a:pt x="347133" y="1440392"/>
                    <a:pt x="347085" y="1435714"/>
                    <a:pt x="349250" y="1431925"/>
                  </a:cubicBezTo>
                  <a:cubicBezTo>
                    <a:pt x="354846" y="1422132"/>
                    <a:pt x="359208" y="1422256"/>
                    <a:pt x="368300" y="1419225"/>
                  </a:cubicBezTo>
                  <a:cubicBezTo>
                    <a:pt x="382601" y="1420655"/>
                    <a:pt x="403225" y="1412964"/>
                    <a:pt x="403225" y="1431925"/>
                  </a:cubicBezTo>
                  <a:cubicBezTo>
                    <a:pt x="403225" y="1437321"/>
                    <a:pt x="401108" y="1442508"/>
                    <a:pt x="400050" y="1447800"/>
                  </a:cubicBezTo>
                  <a:cubicBezTo>
                    <a:pt x="401108" y="1455208"/>
                    <a:pt x="400539" y="1463040"/>
                    <a:pt x="403225" y="1470025"/>
                  </a:cubicBezTo>
                  <a:cubicBezTo>
                    <a:pt x="410076" y="1487838"/>
                    <a:pt x="412064" y="1488425"/>
                    <a:pt x="425450" y="1492250"/>
                  </a:cubicBezTo>
                  <a:cubicBezTo>
                    <a:pt x="429646" y="1493449"/>
                    <a:pt x="433954" y="1494226"/>
                    <a:pt x="438150" y="1495425"/>
                  </a:cubicBezTo>
                  <a:cubicBezTo>
                    <a:pt x="456712" y="1500729"/>
                    <a:pt x="438042" y="1496812"/>
                    <a:pt x="460375" y="1501775"/>
                  </a:cubicBezTo>
                  <a:cubicBezTo>
                    <a:pt x="483363" y="1506883"/>
                    <a:pt x="468754" y="1502451"/>
                    <a:pt x="485775" y="1508125"/>
                  </a:cubicBezTo>
                  <a:cubicBezTo>
                    <a:pt x="488950" y="1510242"/>
                    <a:pt x="491813" y="1512925"/>
                    <a:pt x="495300" y="1514475"/>
                  </a:cubicBezTo>
                  <a:cubicBezTo>
                    <a:pt x="505238" y="1518892"/>
                    <a:pt x="516495" y="1521361"/>
                    <a:pt x="527050" y="1524000"/>
                  </a:cubicBezTo>
                  <a:cubicBezTo>
                    <a:pt x="537754" y="1507943"/>
                    <a:pt x="527589" y="1518968"/>
                    <a:pt x="542925" y="1511300"/>
                  </a:cubicBezTo>
                  <a:cubicBezTo>
                    <a:pt x="546338" y="1509593"/>
                    <a:pt x="548963" y="1506500"/>
                    <a:pt x="552450" y="1504950"/>
                  </a:cubicBezTo>
                  <a:cubicBezTo>
                    <a:pt x="567544" y="1498241"/>
                    <a:pt x="574576" y="1498087"/>
                    <a:pt x="590550" y="1495425"/>
                  </a:cubicBezTo>
                  <a:cubicBezTo>
                    <a:pt x="589492" y="1490133"/>
                    <a:pt x="589270" y="1484603"/>
                    <a:pt x="587375" y="1479550"/>
                  </a:cubicBezTo>
                  <a:cubicBezTo>
                    <a:pt x="586035" y="1475977"/>
                    <a:pt x="582732" y="1473438"/>
                    <a:pt x="581025" y="1470025"/>
                  </a:cubicBezTo>
                  <a:cubicBezTo>
                    <a:pt x="579528" y="1467032"/>
                    <a:pt x="578908" y="1463675"/>
                    <a:pt x="577850" y="1460500"/>
                  </a:cubicBezTo>
                  <a:cubicBezTo>
                    <a:pt x="578908" y="1453092"/>
                    <a:pt x="579342" y="1445567"/>
                    <a:pt x="581025" y="1438275"/>
                  </a:cubicBezTo>
                  <a:cubicBezTo>
                    <a:pt x="582530" y="1431753"/>
                    <a:pt x="585752" y="1425719"/>
                    <a:pt x="587375" y="1419225"/>
                  </a:cubicBezTo>
                  <a:cubicBezTo>
                    <a:pt x="588433" y="1414992"/>
                    <a:pt x="589296" y="1410705"/>
                    <a:pt x="590550" y="1406525"/>
                  </a:cubicBezTo>
                  <a:cubicBezTo>
                    <a:pt x="592473" y="1400114"/>
                    <a:pt x="594783" y="1393825"/>
                    <a:pt x="596900" y="1387475"/>
                  </a:cubicBezTo>
                  <a:cubicBezTo>
                    <a:pt x="597958" y="1384300"/>
                    <a:pt x="599263" y="1381197"/>
                    <a:pt x="600075" y="1377950"/>
                  </a:cubicBezTo>
                  <a:cubicBezTo>
                    <a:pt x="607237" y="1349303"/>
                    <a:pt x="603665" y="1360829"/>
                    <a:pt x="609600" y="1343025"/>
                  </a:cubicBezTo>
                  <a:cubicBezTo>
                    <a:pt x="608542" y="1335617"/>
                    <a:pt x="608108" y="1328092"/>
                    <a:pt x="606425" y="1320800"/>
                  </a:cubicBezTo>
                  <a:cubicBezTo>
                    <a:pt x="602627" y="1304343"/>
                    <a:pt x="602143" y="1301886"/>
                    <a:pt x="590550" y="1292225"/>
                  </a:cubicBezTo>
                  <a:cubicBezTo>
                    <a:pt x="587619" y="1289782"/>
                    <a:pt x="584200" y="1287992"/>
                    <a:pt x="581025" y="1285875"/>
                  </a:cubicBezTo>
                  <a:lnTo>
                    <a:pt x="568325" y="1266825"/>
                  </a:lnTo>
                  <a:cubicBezTo>
                    <a:pt x="566208" y="1263650"/>
                    <a:pt x="563182" y="1260920"/>
                    <a:pt x="561975" y="1257300"/>
                  </a:cubicBezTo>
                  <a:lnTo>
                    <a:pt x="555625" y="1238250"/>
                  </a:lnTo>
                  <a:lnTo>
                    <a:pt x="552450" y="1228725"/>
                  </a:lnTo>
                  <a:cubicBezTo>
                    <a:pt x="547278" y="1187351"/>
                    <a:pt x="547279" y="1199289"/>
                    <a:pt x="552450" y="1139825"/>
                  </a:cubicBezTo>
                  <a:cubicBezTo>
                    <a:pt x="552740" y="1136491"/>
                    <a:pt x="554567" y="1133475"/>
                    <a:pt x="555625" y="1130300"/>
                  </a:cubicBezTo>
                  <a:cubicBezTo>
                    <a:pt x="548597" y="1125614"/>
                    <a:pt x="541464" y="1121759"/>
                    <a:pt x="536575" y="1114425"/>
                  </a:cubicBezTo>
                  <a:cubicBezTo>
                    <a:pt x="534719" y="1111640"/>
                    <a:pt x="534458" y="1108075"/>
                    <a:pt x="533400" y="1104900"/>
                  </a:cubicBezTo>
                  <a:cubicBezTo>
                    <a:pt x="534458" y="1101725"/>
                    <a:pt x="534484" y="1097988"/>
                    <a:pt x="536575" y="1095375"/>
                  </a:cubicBezTo>
                  <a:cubicBezTo>
                    <a:pt x="538959" y="1092395"/>
                    <a:pt x="543169" y="1091468"/>
                    <a:pt x="546100" y="1089025"/>
                  </a:cubicBezTo>
                  <a:cubicBezTo>
                    <a:pt x="561955" y="1075812"/>
                    <a:pt x="548411" y="1081905"/>
                    <a:pt x="565150" y="1076325"/>
                  </a:cubicBezTo>
                  <a:cubicBezTo>
                    <a:pt x="592447" y="1058127"/>
                    <a:pt x="557910" y="1079945"/>
                    <a:pt x="584200" y="1066800"/>
                  </a:cubicBezTo>
                  <a:cubicBezTo>
                    <a:pt x="587613" y="1065093"/>
                    <a:pt x="590152" y="1061790"/>
                    <a:pt x="593725" y="1060450"/>
                  </a:cubicBezTo>
                  <a:cubicBezTo>
                    <a:pt x="604223" y="1056513"/>
                    <a:pt x="640704" y="1054447"/>
                    <a:pt x="644525" y="1054100"/>
                  </a:cubicBezTo>
                  <a:cubicBezTo>
                    <a:pt x="658283" y="1055158"/>
                    <a:pt x="672170" y="1055123"/>
                    <a:pt x="685800" y="1057275"/>
                  </a:cubicBezTo>
                  <a:cubicBezTo>
                    <a:pt x="692412" y="1058319"/>
                    <a:pt x="704850" y="1063625"/>
                    <a:pt x="704850" y="1063625"/>
                  </a:cubicBezTo>
                  <a:lnTo>
                    <a:pt x="723900" y="1076325"/>
                  </a:lnTo>
                  <a:cubicBezTo>
                    <a:pt x="741566" y="1088102"/>
                    <a:pt x="720747" y="1082697"/>
                    <a:pt x="733425" y="1095375"/>
                  </a:cubicBezTo>
                  <a:cubicBezTo>
                    <a:pt x="735792" y="1097742"/>
                    <a:pt x="739775" y="1097492"/>
                    <a:pt x="742950" y="1098550"/>
                  </a:cubicBezTo>
                  <a:cubicBezTo>
                    <a:pt x="746125" y="1100667"/>
                    <a:pt x="748689" y="1104427"/>
                    <a:pt x="752475" y="1104900"/>
                  </a:cubicBezTo>
                  <a:cubicBezTo>
                    <a:pt x="766895" y="1106702"/>
                    <a:pt x="769408" y="1100667"/>
                    <a:pt x="777875" y="1092200"/>
                  </a:cubicBezTo>
                  <a:cubicBezTo>
                    <a:pt x="783949" y="1067905"/>
                    <a:pt x="783757" y="1074266"/>
                    <a:pt x="777875" y="1035050"/>
                  </a:cubicBezTo>
                  <a:cubicBezTo>
                    <a:pt x="776882" y="1028431"/>
                    <a:pt x="771525" y="1016000"/>
                    <a:pt x="771525" y="1016000"/>
                  </a:cubicBezTo>
                  <a:cubicBezTo>
                    <a:pt x="772583" y="1012825"/>
                    <a:pt x="772609" y="1009088"/>
                    <a:pt x="774700" y="1006475"/>
                  </a:cubicBezTo>
                  <a:cubicBezTo>
                    <a:pt x="779176" y="1000880"/>
                    <a:pt x="787475" y="999042"/>
                    <a:pt x="793750" y="996950"/>
                  </a:cubicBezTo>
                  <a:cubicBezTo>
                    <a:pt x="805845" y="999369"/>
                    <a:pt x="813405" y="1002998"/>
                    <a:pt x="825500" y="996950"/>
                  </a:cubicBezTo>
                  <a:cubicBezTo>
                    <a:pt x="830181" y="994609"/>
                    <a:pt x="838944" y="982762"/>
                    <a:pt x="841375" y="977900"/>
                  </a:cubicBezTo>
                  <a:cubicBezTo>
                    <a:pt x="842872" y="974907"/>
                    <a:pt x="842183" y="970742"/>
                    <a:pt x="844550" y="968375"/>
                  </a:cubicBezTo>
                  <a:cubicBezTo>
                    <a:pt x="846917" y="966008"/>
                    <a:pt x="850900" y="966258"/>
                    <a:pt x="854075" y="965200"/>
                  </a:cubicBezTo>
                  <a:cubicBezTo>
                    <a:pt x="857250" y="963083"/>
                    <a:pt x="860187" y="960557"/>
                    <a:pt x="863600" y="958850"/>
                  </a:cubicBezTo>
                  <a:cubicBezTo>
                    <a:pt x="866593" y="957353"/>
                    <a:pt x="870340" y="957531"/>
                    <a:pt x="873125" y="955675"/>
                  </a:cubicBezTo>
                  <a:cubicBezTo>
                    <a:pt x="876861" y="953184"/>
                    <a:pt x="879475" y="949325"/>
                    <a:pt x="882650" y="946150"/>
                  </a:cubicBezTo>
                  <a:cubicBezTo>
                    <a:pt x="889797" y="924708"/>
                    <a:pt x="882650" y="951102"/>
                    <a:pt x="882650" y="917575"/>
                  </a:cubicBezTo>
                  <a:cubicBezTo>
                    <a:pt x="882650" y="909042"/>
                    <a:pt x="884299" y="900570"/>
                    <a:pt x="885825" y="892175"/>
                  </a:cubicBezTo>
                  <a:cubicBezTo>
                    <a:pt x="886424" y="888882"/>
                    <a:pt x="886909" y="885263"/>
                    <a:pt x="889000" y="882650"/>
                  </a:cubicBezTo>
                  <a:cubicBezTo>
                    <a:pt x="893612" y="876885"/>
                    <a:pt x="904594" y="873788"/>
                    <a:pt x="911225" y="873125"/>
                  </a:cubicBezTo>
                  <a:cubicBezTo>
                    <a:pt x="928107" y="871437"/>
                    <a:pt x="945092" y="871008"/>
                    <a:pt x="962025" y="869950"/>
                  </a:cubicBezTo>
                  <a:cubicBezTo>
                    <a:pt x="971391" y="863706"/>
                    <a:pt x="973435" y="863242"/>
                    <a:pt x="981075" y="854075"/>
                  </a:cubicBezTo>
                  <a:cubicBezTo>
                    <a:pt x="994304" y="838200"/>
                    <a:pt x="979487" y="849842"/>
                    <a:pt x="996950" y="838200"/>
                  </a:cubicBezTo>
                  <a:cubicBezTo>
                    <a:pt x="1001183" y="831850"/>
                    <a:pt x="1007237" y="826390"/>
                    <a:pt x="1009650" y="819150"/>
                  </a:cubicBezTo>
                  <a:lnTo>
                    <a:pt x="1016000" y="800100"/>
                  </a:lnTo>
                  <a:cubicBezTo>
                    <a:pt x="1014942" y="795867"/>
                    <a:pt x="1014024" y="791596"/>
                    <a:pt x="1012825" y="787400"/>
                  </a:cubicBezTo>
                  <a:cubicBezTo>
                    <a:pt x="1011906" y="784182"/>
                    <a:pt x="1009650" y="781222"/>
                    <a:pt x="1009650" y="777875"/>
                  </a:cubicBezTo>
                  <a:cubicBezTo>
                    <a:pt x="1009650" y="761965"/>
                    <a:pt x="1011242" y="746081"/>
                    <a:pt x="1012825" y="730250"/>
                  </a:cubicBezTo>
                  <a:cubicBezTo>
                    <a:pt x="1013362" y="724880"/>
                    <a:pt x="1014580" y="719581"/>
                    <a:pt x="1016000" y="714375"/>
                  </a:cubicBezTo>
                  <a:cubicBezTo>
                    <a:pt x="1017761" y="707917"/>
                    <a:pt x="1022350" y="695325"/>
                    <a:pt x="1022350" y="695325"/>
                  </a:cubicBezTo>
                  <a:cubicBezTo>
                    <a:pt x="1019175" y="693208"/>
                    <a:pt x="1016628" y="689292"/>
                    <a:pt x="1012825" y="688975"/>
                  </a:cubicBezTo>
                  <a:cubicBezTo>
                    <a:pt x="995811" y="687557"/>
                    <a:pt x="988143" y="690852"/>
                    <a:pt x="974725" y="695325"/>
                  </a:cubicBezTo>
                  <a:cubicBezTo>
                    <a:pt x="972608" y="698500"/>
                    <a:pt x="972044" y="703802"/>
                    <a:pt x="968375" y="704850"/>
                  </a:cubicBezTo>
                  <a:cubicBezTo>
                    <a:pt x="954094" y="708930"/>
                    <a:pt x="951720" y="700506"/>
                    <a:pt x="946150" y="692150"/>
                  </a:cubicBezTo>
                  <a:cubicBezTo>
                    <a:pt x="946357" y="691320"/>
                    <a:pt x="950844" y="671995"/>
                    <a:pt x="952500" y="669925"/>
                  </a:cubicBezTo>
                  <a:cubicBezTo>
                    <a:pt x="954884" y="666945"/>
                    <a:pt x="958850" y="665692"/>
                    <a:pt x="962025" y="663575"/>
                  </a:cubicBezTo>
                  <a:cubicBezTo>
                    <a:pt x="963083" y="660400"/>
                    <a:pt x="963344" y="656835"/>
                    <a:pt x="965200" y="654050"/>
                  </a:cubicBezTo>
                  <a:cubicBezTo>
                    <a:pt x="967691" y="650314"/>
                    <a:pt x="973751" y="648908"/>
                    <a:pt x="974725" y="644525"/>
                  </a:cubicBezTo>
                  <a:cubicBezTo>
                    <a:pt x="976122" y="638241"/>
                    <a:pt x="973111" y="631720"/>
                    <a:pt x="971550" y="625475"/>
                  </a:cubicBezTo>
                  <a:cubicBezTo>
                    <a:pt x="969927" y="618981"/>
                    <a:pt x="965200" y="606425"/>
                    <a:pt x="965200" y="606425"/>
                  </a:cubicBezTo>
                  <a:cubicBezTo>
                    <a:pt x="966258" y="599017"/>
                    <a:pt x="965596" y="591148"/>
                    <a:pt x="968375" y="584200"/>
                  </a:cubicBezTo>
                  <a:cubicBezTo>
                    <a:pt x="972726" y="573323"/>
                    <a:pt x="981571" y="574080"/>
                    <a:pt x="990600" y="571500"/>
                  </a:cubicBezTo>
                  <a:cubicBezTo>
                    <a:pt x="1022484" y="562390"/>
                    <a:pt x="973123" y="575076"/>
                    <a:pt x="1012825" y="565150"/>
                  </a:cubicBezTo>
                  <a:cubicBezTo>
                    <a:pt x="1016000" y="561975"/>
                    <a:pt x="1020169" y="559550"/>
                    <a:pt x="1022350" y="555625"/>
                  </a:cubicBezTo>
                  <a:cubicBezTo>
                    <a:pt x="1025601" y="549774"/>
                    <a:pt x="1028700" y="536575"/>
                    <a:pt x="1028700" y="536575"/>
                  </a:cubicBezTo>
                  <a:lnTo>
                    <a:pt x="1022350" y="517525"/>
                  </a:lnTo>
                  <a:cubicBezTo>
                    <a:pt x="1020970" y="513385"/>
                    <a:pt x="1020894" y="508836"/>
                    <a:pt x="1019175" y="504825"/>
                  </a:cubicBezTo>
                  <a:cubicBezTo>
                    <a:pt x="1017672" y="501318"/>
                    <a:pt x="1014532" y="498713"/>
                    <a:pt x="1012825" y="495300"/>
                  </a:cubicBezTo>
                  <a:cubicBezTo>
                    <a:pt x="1011328" y="492307"/>
                    <a:pt x="1010708" y="488950"/>
                    <a:pt x="1009650" y="485775"/>
                  </a:cubicBezTo>
                  <a:cubicBezTo>
                    <a:pt x="1010708" y="476250"/>
                    <a:pt x="1008281" y="465638"/>
                    <a:pt x="1012825" y="457200"/>
                  </a:cubicBezTo>
                  <a:cubicBezTo>
                    <a:pt x="1016443" y="450480"/>
                    <a:pt x="1031875" y="444500"/>
                    <a:pt x="1031875" y="444500"/>
                  </a:cubicBezTo>
                  <a:cubicBezTo>
                    <a:pt x="1044717" y="446640"/>
                    <a:pt x="1067842" y="450850"/>
                    <a:pt x="1079500" y="450850"/>
                  </a:cubicBezTo>
                  <a:cubicBezTo>
                    <a:pt x="1085938" y="450850"/>
                    <a:pt x="1092200" y="448733"/>
                    <a:pt x="1098550" y="447675"/>
                  </a:cubicBezTo>
                  <a:cubicBezTo>
                    <a:pt x="1095375" y="444500"/>
                    <a:pt x="1091900" y="441599"/>
                    <a:pt x="1089025" y="438150"/>
                  </a:cubicBezTo>
                  <a:cubicBezTo>
                    <a:pt x="1086582" y="435219"/>
                    <a:pt x="1085547" y="431138"/>
                    <a:pt x="1082675" y="428625"/>
                  </a:cubicBezTo>
                  <a:cubicBezTo>
                    <a:pt x="1076932" y="423599"/>
                    <a:pt x="1063625" y="415925"/>
                    <a:pt x="1063625" y="415925"/>
                  </a:cubicBezTo>
                  <a:cubicBezTo>
                    <a:pt x="1064683" y="408517"/>
                    <a:pt x="1065332" y="401038"/>
                    <a:pt x="1066800" y="393700"/>
                  </a:cubicBezTo>
                  <a:cubicBezTo>
                    <a:pt x="1067456" y="390418"/>
                    <a:pt x="1067608" y="386542"/>
                    <a:pt x="1069975" y="384175"/>
                  </a:cubicBezTo>
                  <a:cubicBezTo>
                    <a:pt x="1072342" y="381808"/>
                    <a:pt x="1076325" y="382058"/>
                    <a:pt x="1079500" y="381000"/>
                  </a:cubicBezTo>
                  <a:cubicBezTo>
                    <a:pt x="1082675" y="377825"/>
                    <a:pt x="1086534" y="375211"/>
                    <a:pt x="1089025" y="371475"/>
                  </a:cubicBezTo>
                  <a:cubicBezTo>
                    <a:pt x="1097187" y="359232"/>
                    <a:pt x="1089886" y="322519"/>
                    <a:pt x="1089025" y="320675"/>
                  </a:cubicBezTo>
                  <a:cubicBezTo>
                    <a:pt x="1086194" y="314609"/>
                    <a:pt x="1069975" y="314325"/>
                    <a:pt x="1069975" y="314325"/>
                  </a:cubicBezTo>
                  <a:cubicBezTo>
                    <a:pt x="1066800" y="312208"/>
                    <a:pt x="1063957" y="309478"/>
                    <a:pt x="1060450" y="307975"/>
                  </a:cubicBezTo>
                  <a:cubicBezTo>
                    <a:pt x="1056439" y="306256"/>
                    <a:pt x="1051946" y="305999"/>
                    <a:pt x="1047750" y="304800"/>
                  </a:cubicBezTo>
                  <a:cubicBezTo>
                    <a:pt x="1044532" y="303881"/>
                    <a:pt x="1041400" y="302683"/>
                    <a:pt x="1038225" y="301625"/>
                  </a:cubicBezTo>
                  <a:cubicBezTo>
                    <a:pt x="1031203" y="294603"/>
                    <a:pt x="1026770" y="291416"/>
                    <a:pt x="1022350" y="282575"/>
                  </a:cubicBezTo>
                  <a:cubicBezTo>
                    <a:pt x="1020853" y="279582"/>
                    <a:pt x="1020672" y="276043"/>
                    <a:pt x="1019175" y="273050"/>
                  </a:cubicBezTo>
                  <a:cubicBezTo>
                    <a:pt x="1016247" y="267193"/>
                    <a:pt x="1008566" y="257511"/>
                    <a:pt x="1003300" y="254000"/>
                  </a:cubicBezTo>
                  <a:cubicBezTo>
                    <a:pt x="1000515" y="252144"/>
                    <a:pt x="996950" y="251883"/>
                    <a:pt x="993775" y="250825"/>
                  </a:cubicBezTo>
                  <a:cubicBezTo>
                    <a:pt x="990600" y="248708"/>
                    <a:pt x="986272" y="247711"/>
                    <a:pt x="984250" y="244475"/>
                  </a:cubicBezTo>
                  <a:cubicBezTo>
                    <a:pt x="980702" y="238799"/>
                    <a:pt x="980017" y="231775"/>
                    <a:pt x="977900" y="225425"/>
                  </a:cubicBezTo>
                  <a:cubicBezTo>
                    <a:pt x="972226" y="208404"/>
                    <a:pt x="976658" y="223013"/>
                    <a:pt x="971550" y="200025"/>
                  </a:cubicBezTo>
                  <a:cubicBezTo>
                    <a:pt x="970603" y="195765"/>
                    <a:pt x="970540" y="191114"/>
                    <a:pt x="968375" y="187325"/>
                  </a:cubicBezTo>
                  <a:cubicBezTo>
                    <a:pt x="966147" y="183426"/>
                    <a:pt x="962775" y="179981"/>
                    <a:pt x="958850" y="177800"/>
                  </a:cubicBezTo>
                  <a:cubicBezTo>
                    <a:pt x="952999" y="174549"/>
                    <a:pt x="939800" y="171450"/>
                    <a:pt x="939800" y="171450"/>
                  </a:cubicBezTo>
                  <a:cubicBezTo>
                    <a:pt x="928158" y="172508"/>
                    <a:pt x="916447" y="172972"/>
                    <a:pt x="904875" y="174625"/>
                  </a:cubicBezTo>
                  <a:cubicBezTo>
                    <a:pt x="901562" y="175098"/>
                    <a:pt x="897295" y="175077"/>
                    <a:pt x="895350" y="177800"/>
                  </a:cubicBezTo>
                  <a:cubicBezTo>
                    <a:pt x="891459" y="183247"/>
                    <a:pt x="889000" y="196850"/>
                    <a:pt x="889000" y="196850"/>
                  </a:cubicBezTo>
                  <a:cubicBezTo>
                    <a:pt x="890058" y="200025"/>
                    <a:pt x="890678" y="203382"/>
                    <a:pt x="892175" y="206375"/>
                  </a:cubicBezTo>
                  <a:cubicBezTo>
                    <a:pt x="893882" y="209788"/>
                    <a:pt x="896975" y="212413"/>
                    <a:pt x="898525" y="215900"/>
                  </a:cubicBezTo>
                  <a:cubicBezTo>
                    <a:pt x="901243" y="222017"/>
                    <a:pt x="904875" y="234950"/>
                    <a:pt x="904875" y="234950"/>
                  </a:cubicBezTo>
                  <a:cubicBezTo>
                    <a:pt x="903817" y="238125"/>
                    <a:pt x="903791" y="241862"/>
                    <a:pt x="901700" y="244475"/>
                  </a:cubicBezTo>
                  <a:cubicBezTo>
                    <a:pt x="895971" y="251636"/>
                    <a:pt x="887384" y="251740"/>
                    <a:pt x="879475" y="254000"/>
                  </a:cubicBezTo>
                  <a:cubicBezTo>
                    <a:pt x="876257" y="254919"/>
                    <a:pt x="873125" y="256117"/>
                    <a:pt x="869950" y="257175"/>
                  </a:cubicBezTo>
                  <a:lnTo>
                    <a:pt x="841375" y="247650"/>
                  </a:lnTo>
                  <a:lnTo>
                    <a:pt x="831850" y="244475"/>
                  </a:lnTo>
                  <a:cubicBezTo>
                    <a:pt x="818575" y="235625"/>
                    <a:pt x="812601" y="233441"/>
                    <a:pt x="803275" y="222250"/>
                  </a:cubicBezTo>
                  <a:cubicBezTo>
                    <a:pt x="800832" y="219319"/>
                    <a:pt x="798632" y="216138"/>
                    <a:pt x="796925" y="212725"/>
                  </a:cubicBezTo>
                  <a:cubicBezTo>
                    <a:pt x="795428" y="209732"/>
                    <a:pt x="794808" y="206375"/>
                    <a:pt x="793750" y="203200"/>
                  </a:cubicBezTo>
                  <a:cubicBezTo>
                    <a:pt x="794808" y="196850"/>
                    <a:pt x="795528" y="190434"/>
                    <a:pt x="796925" y="184150"/>
                  </a:cubicBezTo>
                  <a:cubicBezTo>
                    <a:pt x="797651" y="180883"/>
                    <a:pt x="797377" y="176570"/>
                    <a:pt x="800100" y="174625"/>
                  </a:cubicBezTo>
                  <a:cubicBezTo>
                    <a:pt x="805547" y="170734"/>
                    <a:pt x="819150" y="168275"/>
                    <a:pt x="819150" y="168275"/>
                  </a:cubicBezTo>
                  <a:cubicBezTo>
                    <a:pt x="826118" y="163630"/>
                    <a:pt x="835025" y="159967"/>
                    <a:pt x="835025" y="149225"/>
                  </a:cubicBezTo>
                  <a:cubicBezTo>
                    <a:pt x="835025" y="142532"/>
                    <a:pt x="830792" y="136525"/>
                    <a:pt x="828675" y="130175"/>
                  </a:cubicBezTo>
                  <a:cubicBezTo>
                    <a:pt x="823001" y="113154"/>
                    <a:pt x="827433" y="127763"/>
                    <a:pt x="822325" y="104775"/>
                  </a:cubicBezTo>
                  <a:cubicBezTo>
                    <a:pt x="819667" y="92815"/>
                    <a:pt x="819511" y="93157"/>
                    <a:pt x="815975" y="82550"/>
                  </a:cubicBezTo>
                  <a:cubicBezTo>
                    <a:pt x="818092" y="79375"/>
                    <a:pt x="819150" y="75142"/>
                    <a:pt x="822325" y="73025"/>
                  </a:cubicBezTo>
                  <a:cubicBezTo>
                    <a:pt x="825956" y="70604"/>
                    <a:pt x="830829" y="71049"/>
                    <a:pt x="835025" y="69850"/>
                  </a:cubicBezTo>
                  <a:cubicBezTo>
                    <a:pt x="838243" y="68931"/>
                    <a:pt x="841375" y="67733"/>
                    <a:pt x="844550" y="66675"/>
                  </a:cubicBezTo>
                  <a:cubicBezTo>
                    <a:pt x="846761" y="63358"/>
                    <a:pt x="854951" y="52883"/>
                    <a:pt x="854075" y="47625"/>
                  </a:cubicBezTo>
                  <a:cubicBezTo>
                    <a:pt x="852920" y="40698"/>
                    <a:pt x="843588" y="34444"/>
                    <a:pt x="838200" y="31750"/>
                  </a:cubicBezTo>
                  <a:cubicBezTo>
                    <a:pt x="830493" y="27897"/>
                    <a:pt x="820770" y="27574"/>
                    <a:pt x="812800" y="25400"/>
                  </a:cubicBezTo>
                  <a:cubicBezTo>
                    <a:pt x="806342" y="23639"/>
                    <a:pt x="793750" y="19050"/>
                    <a:pt x="793750" y="19050"/>
                  </a:cubicBezTo>
                  <a:lnTo>
                    <a:pt x="774700" y="6350"/>
                  </a:lnTo>
                  <a:lnTo>
                    <a:pt x="765175" y="0"/>
                  </a:lnTo>
                  <a:cubicBezTo>
                    <a:pt x="755650" y="1058"/>
                    <a:pt x="745897" y="851"/>
                    <a:pt x="736600" y="3175"/>
                  </a:cubicBezTo>
                  <a:cubicBezTo>
                    <a:pt x="732898" y="4100"/>
                    <a:pt x="727903" y="5800"/>
                    <a:pt x="727075" y="9525"/>
                  </a:cubicBezTo>
                  <a:cubicBezTo>
                    <a:pt x="725452" y="16830"/>
                    <a:pt x="729192" y="24342"/>
                    <a:pt x="730250" y="31750"/>
                  </a:cubicBezTo>
                  <a:cubicBezTo>
                    <a:pt x="729031" y="39067"/>
                    <a:pt x="727808" y="52509"/>
                    <a:pt x="723900" y="60325"/>
                  </a:cubicBezTo>
                  <a:cubicBezTo>
                    <a:pt x="722193" y="63738"/>
                    <a:pt x="719993" y="66919"/>
                    <a:pt x="717550" y="69850"/>
                  </a:cubicBezTo>
                  <a:cubicBezTo>
                    <a:pt x="714675" y="73299"/>
                    <a:pt x="711761" y="76884"/>
                    <a:pt x="708025" y="79375"/>
                  </a:cubicBezTo>
                  <a:cubicBezTo>
                    <a:pt x="705240" y="81231"/>
                    <a:pt x="701675" y="81492"/>
                    <a:pt x="698500" y="82550"/>
                  </a:cubicBezTo>
                  <a:cubicBezTo>
                    <a:pt x="695325" y="85725"/>
                    <a:pt x="692519" y="89318"/>
                    <a:pt x="688975" y="92075"/>
                  </a:cubicBezTo>
                  <a:cubicBezTo>
                    <a:pt x="682951" y="96760"/>
                    <a:pt x="675321" y="99379"/>
                    <a:pt x="669925" y="104775"/>
                  </a:cubicBezTo>
                  <a:cubicBezTo>
                    <a:pt x="666750" y="107950"/>
                    <a:pt x="663809" y="111378"/>
                    <a:pt x="660400" y="114300"/>
                  </a:cubicBezTo>
                  <a:cubicBezTo>
                    <a:pt x="656382" y="117744"/>
                    <a:pt x="651442" y="120083"/>
                    <a:pt x="647700" y="123825"/>
                  </a:cubicBezTo>
                  <a:cubicBezTo>
                    <a:pt x="645002" y="126523"/>
                    <a:pt x="644222" y="130837"/>
                    <a:pt x="641350" y="133350"/>
                  </a:cubicBezTo>
                  <a:cubicBezTo>
                    <a:pt x="626229" y="146580"/>
                    <a:pt x="625381" y="145280"/>
                    <a:pt x="609600" y="149225"/>
                  </a:cubicBezTo>
                  <a:cubicBezTo>
                    <a:pt x="608770" y="149018"/>
                    <a:pt x="589445" y="144531"/>
                    <a:pt x="587375" y="142875"/>
                  </a:cubicBezTo>
                  <a:cubicBezTo>
                    <a:pt x="584395" y="140491"/>
                    <a:pt x="583723" y="136048"/>
                    <a:pt x="581025" y="133350"/>
                  </a:cubicBezTo>
                  <a:cubicBezTo>
                    <a:pt x="578327" y="130652"/>
                    <a:pt x="574675" y="129117"/>
                    <a:pt x="571500" y="127000"/>
                  </a:cubicBezTo>
                  <a:cubicBezTo>
                    <a:pt x="570442" y="123825"/>
                    <a:pt x="568325" y="120822"/>
                    <a:pt x="568325" y="117475"/>
                  </a:cubicBezTo>
                  <a:cubicBezTo>
                    <a:pt x="568325" y="112079"/>
                    <a:pt x="572983" y="106789"/>
                    <a:pt x="571500" y="101600"/>
                  </a:cubicBezTo>
                  <a:cubicBezTo>
                    <a:pt x="570452" y="97931"/>
                    <a:pt x="565150" y="97367"/>
                    <a:pt x="561975" y="95250"/>
                  </a:cubicBezTo>
                  <a:cubicBezTo>
                    <a:pt x="532873" y="102525"/>
                    <a:pt x="543837" y="96759"/>
                    <a:pt x="527050" y="107950"/>
                  </a:cubicBezTo>
                  <a:cubicBezTo>
                    <a:pt x="528108" y="118533"/>
                    <a:pt x="528265" y="129246"/>
                    <a:pt x="530225" y="139700"/>
                  </a:cubicBezTo>
                  <a:cubicBezTo>
                    <a:pt x="531459" y="146279"/>
                    <a:pt x="536575" y="158750"/>
                    <a:pt x="536575" y="158750"/>
                  </a:cubicBezTo>
                  <a:cubicBezTo>
                    <a:pt x="535517" y="164042"/>
                    <a:pt x="535813" y="169798"/>
                    <a:pt x="533400" y="174625"/>
                  </a:cubicBezTo>
                  <a:cubicBezTo>
                    <a:pt x="529564" y="182297"/>
                    <a:pt x="518366" y="187623"/>
                    <a:pt x="511175" y="190500"/>
                  </a:cubicBezTo>
                  <a:cubicBezTo>
                    <a:pt x="504960" y="192986"/>
                    <a:pt x="492125" y="196850"/>
                    <a:pt x="492125" y="196850"/>
                  </a:cubicBezTo>
                  <a:cubicBezTo>
                    <a:pt x="482600" y="195792"/>
                    <a:pt x="473134" y="193675"/>
                    <a:pt x="463550" y="193675"/>
                  </a:cubicBezTo>
                  <a:cubicBezTo>
                    <a:pt x="441569" y="193675"/>
                    <a:pt x="431631" y="196249"/>
                    <a:pt x="412750" y="200025"/>
                  </a:cubicBezTo>
                  <a:cubicBezTo>
                    <a:pt x="409575" y="202142"/>
                    <a:pt x="406638" y="204668"/>
                    <a:pt x="403225" y="206375"/>
                  </a:cubicBezTo>
                  <a:cubicBezTo>
                    <a:pt x="400232" y="207872"/>
                    <a:pt x="396067" y="207183"/>
                    <a:pt x="393700" y="209550"/>
                  </a:cubicBezTo>
                  <a:cubicBezTo>
                    <a:pt x="388304" y="214946"/>
                    <a:pt x="385233" y="222250"/>
                    <a:pt x="381000" y="228600"/>
                  </a:cubicBezTo>
                  <a:cubicBezTo>
                    <a:pt x="377287" y="234169"/>
                    <a:pt x="374650" y="247650"/>
                    <a:pt x="374650" y="247650"/>
                  </a:cubicBezTo>
                  <a:cubicBezTo>
                    <a:pt x="375708" y="256117"/>
                    <a:pt x="371404" y="267431"/>
                    <a:pt x="377825" y="273050"/>
                  </a:cubicBezTo>
                  <a:cubicBezTo>
                    <a:pt x="381851" y="276572"/>
                    <a:pt x="402571" y="269035"/>
                    <a:pt x="409575" y="266700"/>
                  </a:cubicBezTo>
                  <a:cubicBezTo>
                    <a:pt x="422275" y="267758"/>
                    <a:pt x="435421" y="266374"/>
                    <a:pt x="447675" y="269875"/>
                  </a:cubicBezTo>
                  <a:cubicBezTo>
                    <a:pt x="459355" y="273212"/>
                    <a:pt x="451685" y="295112"/>
                    <a:pt x="450850" y="298450"/>
                  </a:cubicBezTo>
                  <a:lnTo>
                    <a:pt x="441325" y="327025"/>
                  </a:lnTo>
                  <a:cubicBezTo>
                    <a:pt x="440118" y="330645"/>
                    <a:pt x="437092" y="333375"/>
                    <a:pt x="434975" y="336550"/>
                  </a:cubicBezTo>
                  <a:cubicBezTo>
                    <a:pt x="433917" y="340783"/>
                    <a:pt x="432517" y="344946"/>
                    <a:pt x="431800" y="349250"/>
                  </a:cubicBezTo>
                  <a:cubicBezTo>
                    <a:pt x="430829" y="355079"/>
                    <a:pt x="432161" y="377996"/>
                    <a:pt x="422275" y="384175"/>
                  </a:cubicBezTo>
                  <a:cubicBezTo>
                    <a:pt x="416599" y="387723"/>
                    <a:pt x="409575" y="388408"/>
                    <a:pt x="403225" y="390525"/>
                  </a:cubicBezTo>
                  <a:lnTo>
                    <a:pt x="393700" y="393700"/>
                  </a:lnTo>
                  <a:cubicBezTo>
                    <a:pt x="388408" y="392642"/>
                    <a:pt x="383031" y="391945"/>
                    <a:pt x="377825" y="390525"/>
                  </a:cubicBezTo>
                  <a:cubicBezTo>
                    <a:pt x="371367" y="388764"/>
                    <a:pt x="358775" y="384175"/>
                    <a:pt x="358775" y="384175"/>
                  </a:cubicBezTo>
                  <a:cubicBezTo>
                    <a:pt x="354542" y="385233"/>
                    <a:pt x="346931" y="383071"/>
                    <a:pt x="346075" y="387350"/>
                  </a:cubicBezTo>
                  <a:cubicBezTo>
                    <a:pt x="341985" y="407798"/>
                    <a:pt x="355615" y="435736"/>
                    <a:pt x="346075" y="457200"/>
                  </a:cubicBezTo>
                  <a:cubicBezTo>
                    <a:pt x="344716" y="460258"/>
                    <a:pt x="339725" y="459317"/>
                    <a:pt x="336550" y="460375"/>
                  </a:cubicBezTo>
                  <a:lnTo>
                    <a:pt x="317500" y="473075"/>
                  </a:lnTo>
                  <a:cubicBezTo>
                    <a:pt x="300154" y="484639"/>
                    <a:pt x="308437" y="489389"/>
                    <a:pt x="301625" y="501650"/>
                  </a:cubicBezTo>
                  <a:cubicBezTo>
                    <a:pt x="297919" y="508321"/>
                    <a:pt x="288925" y="520700"/>
                    <a:pt x="288925" y="520700"/>
                  </a:cubicBezTo>
                  <a:cubicBezTo>
                    <a:pt x="287867" y="524933"/>
                    <a:pt x="286697" y="529140"/>
                    <a:pt x="285750" y="533400"/>
                  </a:cubicBezTo>
                  <a:cubicBezTo>
                    <a:pt x="284579" y="538668"/>
                    <a:pt x="285252" y="544590"/>
                    <a:pt x="282575" y="549275"/>
                  </a:cubicBezTo>
                  <a:cubicBezTo>
                    <a:pt x="278921" y="555670"/>
                    <a:pt x="265887" y="557416"/>
                    <a:pt x="260350" y="558800"/>
                  </a:cubicBezTo>
                  <a:cubicBezTo>
                    <a:pt x="257175" y="556683"/>
                    <a:pt x="254312" y="554000"/>
                    <a:pt x="250825" y="552450"/>
                  </a:cubicBezTo>
                  <a:cubicBezTo>
                    <a:pt x="244708" y="549732"/>
                    <a:pt x="231775" y="546100"/>
                    <a:pt x="231775" y="546100"/>
                  </a:cubicBezTo>
                  <a:cubicBezTo>
                    <a:pt x="224367" y="547158"/>
                    <a:pt x="216718" y="547125"/>
                    <a:pt x="209550" y="549275"/>
                  </a:cubicBezTo>
                  <a:cubicBezTo>
                    <a:pt x="205895" y="550371"/>
                    <a:pt x="202956" y="553182"/>
                    <a:pt x="200025" y="555625"/>
                  </a:cubicBezTo>
                  <a:cubicBezTo>
                    <a:pt x="188834" y="564951"/>
                    <a:pt x="186650" y="570925"/>
                    <a:pt x="177800" y="584200"/>
                  </a:cubicBezTo>
                  <a:cubicBezTo>
                    <a:pt x="175944" y="586985"/>
                    <a:pt x="176716" y="591112"/>
                    <a:pt x="174625" y="593725"/>
                  </a:cubicBezTo>
                  <a:cubicBezTo>
                    <a:pt x="172241" y="596705"/>
                    <a:pt x="168275" y="597958"/>
                    <a:pt x="165100" y="600075"/>
                  </a:cubicBezTo>
                  <a:cubicBezTo>
                    <a:pt x="162983" y="603250"/>
                    <a:pt x="159377" y="605836"/>
                    <a:pt x="158750" y="609600"/>
                  </a:cubicBezTo>
                  <a:cubicBezTo>
                    <a:pt x="157874" y="614858"/>
                    <a:pt x="166064" y="625333"/>
                    <a:pt x="168275" y="628650"/>
                  </a:cubicBezTo>
                  <a:cubicBezTo>
                    <a:pt x="165846" y="638366"/>
                    <a:pt x="166059" y="643566"/>
                    <a:pt x="158750" y="650875"/>
                  </a:cubicBezTo>
                  <a:cubicBezTo>
                    <a:pt x="156052" y="653573"/>
                    <a:pt x="152400" y="655108"/>
                    <a:pt x="149225" y="657225"/>
                  </a:cubicBezTo>
                  <a:lnTo>
                    <a:pt x="161925" y="644525"/>
                  </a:ln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4" name="Freeform 23"/>
            <p:cNvSpPr/>
            <p:nvPr>
              <p:custDataLst>
                <p:tags r:id="rId12"/>
              </p:custDataLst>
            </p:nvPr>
          </p:nvSpPr>
          <p:spPr bwMode="gray">
            <a:xfrm>
              <a:off x="4370574" y="3355446"/>
              <a:ext cx="1219200" cy="1030293"/>
            </a:xfrm>
            <a:custGeom>
              <a:avLst/>
              <a:gdLst>
                <a:gd name="connsiteX0" fmla="*/ 342900 w 1219200"/>
                <a:gd name="connsiteY0" fmla="*/ 6879 h 1030293"/>
                <a:gd name="connsiteX1" fmla="*/ 333375 w 1219200"/>
                <a:gd name="connsiteY1" fmla="*/ 60854 h 1030293"/>
                <a:gd name="connsiteX2" fmla="*/ 323850 w 1219200"/>
                <a:gd name="connsiteY2" fmla="*/ 64029 h 1030293"/>
                <a:gd name="connsiteX3" fmla="*/ 311150 w 1219200"/>
                <a:gd name="connsiteY3" fmla="*/ 67204 h 1030293"/>
                <a:gd name="connsiteX4" fmla="*/ 276225 w 1219200"/>
                <a:gd name="connsiteY4" fmla="*/ 67204 h 1030293"/>
                <a:gd name="connsiteX5" fmla="*/ 257175 w 1219200"/>
                <a:gd name="connsiteY5" fmla="*/ 73554 h 1030293"/>
                <a:gd name="connsiteX6" fmla="*/ 244475 w 1219200"/>
                <a:gd name="connsiteY6" fmla="*/ 70379 h 1030293"/>
                <a:gd name="connsiteX7" fmla="*/ 234950 w 1219200"/>
                <a:gd name="connsiteY7" fmla="*/ 64029 h 1030293"/>
                <a:gd name="connsiteX8" fmla="*/ 222250 w 1219200"/>
                <a:gd name="connsiteY8" fmla="*/ 67204 h 1030293"/>
                <a:gd name="connsiteX9" fmla="*/ 200025 w 1219200"/>
                <a:gd name="connsiteY9" fmla="*/ 79904 h 1030293"/>
                <a:gd name="connsiteX10" fmla="*/ 196850 w 1219200"/>
                <a:gd name="connsiteY10" fmla="*/ 89429 h 1030293"/>
                <a:gd name="connsiteX11" fmla="*/ 180975 w 1219200"/>
                <a:gd name="connsiteY11" fmla="*/ 124354 h 1030293"/>
                <a:gd name="connsiteX12" fmla="*/ 171450 w 1219200"/>
                <a:gd name="connsiteY12" fmla="*/ 127529 h 1030293"/>
                <a:gd name="connsiteX13" fmla="*/ 161925 w 1219200"/>
                <a:gd name="connsiteY13" fmla="*/ 133879 h 1030293"/>
                <a:gd name="connsiteX14" fmla="*/ 142875 w 1219200"/>
                <a:gd name="connsiteY14" fmla="*/ 143404 h 1030293"/>
                <a:gd name="connsiteX15" fmla="*/ 133350 w 1219200"/>
                <a:gd name="connsiteY15" fmla="*/ 152929 h 1030293"/>
                <a:gd name="connsiteX16" fmla="*/ 114300 w 1219200"/>
                <a:gd name="connsiteY16" fmla="*/ 159279 h 1030293"/>
                <a:gd name="connsiteX17" fmla="*/ 104775 w 1219200"/>
                <a:gd name="connsiteY17" fmla="*/ 162454 h 1030293"/>
                <a:gd name="connsiteX18" fmla="*/ 76200 w 1219200"/>
                <a:gd name="connsiteY18" fmla="*/ 175154 h 1030293"/>
                <a:gd name="connsiteX19" fmla="*/ 66675 w 1219200"/>
                <a:gd name="connsiteY19" fmla="*/ 178329 h 1030293"/>
                <a:gd name="connsiteX20" fmla="*/ 57150 w 1219200"/>
                <a:gd name="connsiteY20" fmla="*/ 181504 h 1030293"/>
                <a:gd name="connsiteX21" fmla="*/ 41275 w 1219200"/>
                <a:gd name="connsiteY21" fmla="*/ 197379 h 1030293"/>
                <a:gd name="connsiteX22" fmla="*/ 31750 w 1219200"/>
                <a:gd name="connsiteY22" fmla="*/ 203729 h 1030293"/>
                <a:gd name="connsiteX23" fmla="*/ 25400 w 1219200"/>
                <a:gd name="connsiteY23" fmla="*/ 213254 h 1030293"/>
                <a:gd name="connsiteX24" fmla="*/ 28575 w 1219200"/>
                <a:gd name="connsiteY24" fmla="*/ 251354 h 1030293"/>
                <a:gd name="connsiteX25" fmla="*/ 50800 w 1219200"/>
                <a:gd name="connsiteY25" fmla="*/ 276754 h 1030293"/>
                <a:gd name="connsiteX26" fmla="*/ 60325 w 1219200"/>
                <a:gd name="connsiteY26" fmla="*/ 279929 h 1030293"/>
                <a:gd name="connsiteX27" fmla="*/ 69850 w 1219200"/>
                <a:gd name="connsiteY27" fmla="*/ 289454 h 1030293"/>
                <a:gd name="connsiteX28" fmla="*/ 73025 w 1219200"/>
                <a:gd name="connsiteY28" fmla="*/ 302154 h 1030293"/>
                <a:gd name="connsiteX29" fmla="*/ 98425 w 1219200"/>
                <a:gd name="connsiteY29" fmla="*/ 324379 h 1030293"/>
                <a:gd name="connsiteX30" fmla="*/ 120650 w 1219200"/>
                <a:gd name="connsiteY30" fmla="*/ 333904 h 1030293"/>
                <a:gd name="connsiteX31" fmla="*/ 139700 w 1219200"/>
                <a:gd name="connsiteY31" fmla="*/ 340254 h 1030293"/>
                <a:gd name="connsiteX32" fmla="*/ 142875 w 1219200"/>
                <a:gd name="connsiteY32" fmla="*/ 387879 h 1030293"/>
                <a:gd name="connsiteX33" fmla="*/ 136525 w 1219200"/>
                <a:gd name="connsiteY33" fmla="*/ 397404 h 1030293"/>
                <a:gd name="connsiteX34" fmla="*/ 127000 w 1219200"/>
                <a:gd name="connsiteY34" fmla="*/ 403754 h 1030293"/>
                <a:gd name="connsiteX35" fmla="*/ 127000 w 1219200"/>
                <a:gd name="connsiteY35" fmla="*/ 429154 h 1030293"/>
                <a:gd name="connsiteX36" fmla="*/ 130175 w 1219200"/>
                <a:gd name="connsiteY36" fmla="*/ 441854 h 1030293"/>
                <a:gd name="connsiteX37" fmla="*/ 139700 w 1219200"/>
                <a:gd name="connsiteY37" fmla="*/ 445029 h 1030293"/>
                <a:gd name="connsiteX38" fmla="*/ 146050 w 1219200"/>
                <a:gd name="connsiteY38" fmla="*/ 454554 h 1030293"/>
                <a:gd name="connsiteX39" fmla="*/ 130175 w 1219200"/>
                <a:gd name="connsiteY39" fmla="*/ 470429 h 1030293"/>
                <a:gd name="connsiteX40" fmla="*/ 76200 w 1219200"/>
                <a:gd name="connsiteY40" fmla="*/ 473604 h 1030293"/>
                <a:gd name="connsiteX41" fmla="*/ 66675 w 1219200"/>
                <a:gd name="connsiteY41" fmla="*/ 492654 h 1030293"/>
                <a:gd name="connsiteX42" fmla="*/ 73025 w 1219200"/>
                <a:gd name="connsiteY42" fmla="*/ 518054 h 1030293"/>
                <a:gd name="connsiteX43" fmla="*/ 76200 w 1219200"/>
                <a:gd name="connsiteY43" fmla="*/ 540279 h 1030293"/>
                <a:gd name="connsiteX44" fmla="*/ 79375 w 1219200"/>
                <a:gd name="connsiteY44" fmla="*/ 559329 h 1030293"/>
                <a:gd name="connsiteX45" fmla="*/ 47625 w 1219200"/>
                <a:gd name="connsiteY45" fmla="*/ 591079 h 1030293"/>
                <a:gd name="connsiteX46" fmla="*/ 38100 w 1219200"/>
                <a:gd name="connsiteY46" fmla="*/ 597429 h 1030293"/>
                <a:gd name="connsiteX47" fmla="*/ 28575 w 1219200"/>
                <a:gd name="connsiteY47" fmla="*/ 603779 h 1030293"/>
                <a:gd name="connsiteX48" fmla="*/ 19050 w 1219200"/>
                <a:gd name="connsiteY48" fmla="*/ 613304 h 1030293"/>
                <a:gd name="connsiteX49" fmla="*/ 19050 w 1219200"/>
                <a:gd name="connsiteY49" fmla="*/ 670454 h 1030293"/>
                <a:gd name="connsiteX50" fmla="*/ 9525 w 1219200"/>
                <a:gd name="connsiteY50" fmla="*/ 676804 h 1030293"/>
                <a:gd name="connsiteX51" fmla="*/ 3175 w 1219200"/>
                <a:gd name="connsiteY51" fmla="*/ 695854 h 1030293"/>
                <a:gd name="connsiteX52" fmla="*/ 0 w 1219200"/>
                <a:gd name="connsiteY52" fmla="*/ 705379 h 1030293"/>
                <a:gd name="connsiteX53" fmla="*/ 12700 w 1219200"/>
                <a:gd name="connsiteY53" fmla="*/ 718079 h 1030293"/>
                <a:gd name="connsiteX54" fmla="*/ 22225 w 1219200"/>
                <a:gd name="connsiteY54" fmla="*/ 708554 h 1030293"/>
                <a:gd name="connsiteX55" fmla="*/ 31750 w 1219200"/>
                <a:gd name="connsiteY55" fmla="*/ 705379 h 1030293"/>
                <a:gd name="connsiteX56" fmla="*/ 53975 w 1219200"/>
                <a:gd name="connsiteY56" fmla="*/ 699029 h 1030293"/>
                <a:gd name="connsiteX57" fmla="*/ 79375 w 1219200"/>
                <a:gd name="connsiteY57" fmla="*/ 711729 h 1030293"/>
                <a:gd name="connsiteX58" fmla="*/ 76200 w 1219200"/>
                <a:gd name="connsiteY58" fmla="*/ 724429 h 1030293"/>
                <a:gd name="connsiteX59" fmla="*/ 66675 w 1219200"/>
                <a:gd name="connsiteY59" fmla="*/ 743479 h 1030293"/>
                <a:gd name="connsiteX60" fmla="*/ 60325 w 1219200"/>
                <a:gd name="connsiteY60" fmla="*/ 762529 h 1030293"/>
                <a:gd name="connsiteX61" fmla="*/ 63500 w 1219200"/>
                <a:gd name="connsiteY61" fmla="*/ 810154 h 1030293"/>
                <a:gd name="connsiteX62" fmla="*/ 76200 w 1219200"/>
                <a:gd name="connsiteY62" fmla="*/ 806979 h 1030293"/>
                <a:gd name="connsiteX63" fmla="*/ 85725 w 1219200"/>
                <a:gd name="connsiteY63" fmla="*/ 797454 h 1030293"/>
                <a:gd name="connsiteX64" fmla="*/ 104775 w 1219200"/>
                <a:gd name="connsiteY64" fmla="*/ 787929 h 1030293"/>
                <a:gd name="connsiteX65" fmla="*/ 117475 w 1219200"/>
                <a:gd name="connsiteY65" fmla="*/ 778404 h 1030293"/>
                <a:gd name="connsiteX66" fmla="*/ 139700 w 1219200"/>
                <a:gd name="connsiteY66" fmla="*/ 791104 h 1030293"/>
                <a:gd name="connsiteX67" fmla="*/ 155575 w 1219200"/>
                <a:gd name="connsiteY67" fmla="*/ 819679 h 1030293"/>
                <a:gd name="connsiteX68" fmla="*/ 165100 w 1219200"/>
                <a:gd name="connsiteY68" fmla="*/ 822854 h 1030293"/>
                <a:gd name="connsiteX69" fmla="*/ 180975 w 1219200"/>
                <a:gd name="connsiteY69" fmla="*/ 826029 h 1030293"/>
                <a:gd name="connsiteX70" fmla="*/ 190500 w 1219200"/>
                <a:gd name="connsiteY70" fmla="*/ 838729 h 1030293"/>
                <a:gd name="connsiteX71" fmla="*/ 200025 w 1219200"/>
                <a:gd name="connsiteY71" fmla="*/ 845079 h 1030293"/>
                <a:gd name="connsiteX72" fmla="*/ 203200 w 1219200"/>
                <a:gd name="connsiteY72" fmla="*/ 854604 h 1030293"/>
                <a:gd name="connsiteX73" fmla="*/ 209550 w 1219200"/>
                <a:gd name="connsiteY73" fmla="*/ 864129 h 1030293"/>
                <a:gd name="connsiteX74" fmla="*/ 225425 w 1219200"/>
                <a:gd name="connsiteY74" fmla="*/ 892704 h 1030293"/>
                <a:gd name="connsiteX75" fmla="*/ 244475 w 1219200"/>
                <a:gd name="connsiteY75" fmla="*/ 905404 h 1030293"/>
                <a:gd name="connsiteX76" fmla="*/ 254000 w 1219200"/>
                <a:gd name="connsiteY76" fmla="*/ 911754 h 1030293"/>
                <a:gd name="connsiteX77" fmla="*/ 263525 w 1219200"/>
                <a:gd name="connsiteY77" fmla="*/ 905404 h 1030293"/>
                <a:gd name="connsiteX78" fmla="*/ 260350 w 1219200"/>
                <a:gd name="connsiteY78" fmla="*/ 895879 h 1030293"/>
                <a:gd name="connsiteX79" fmla="*/ 263525 w 1219200"/>
                <a:gd name="connsiteY79" fmla="*/ 908579 h 1030293"/>
                <a:gd name="connsiteX80" fmla="*/ 276225 w 1219200"/>
                <a:gd name="connsiteY80" fmla="*/ 927629 h 1030293"/>
                <a:gd name="connsiteX81" fmla="*/ 298450 w 1219200"/>
                <a:gd name="connsiteY81" fmla="*/ 940329 h 1030293"/>
                <a:gd name="connsiteX82" fmla="*/ 317500 w 1219200"/>
                <a:gd name="connsiteY82" fmla="*/ 946679 h 1030293"/>
                <a:gd name="connsiteX83" fmla="*/ 323850 w 1219200"/>
                <a:gd name="connsiteY83" fmla="*/ 994304 h 1030293"/>
                <a:gd name="connsiteX84" fmla="*/ 330200 w 1219200"/>
                <a:gd name="connsiteY84" fmla="*/ 1013354 h 1030293"/>
                <a:gd name="connsiteX85" fmla="*/ 349250 w 1219200"/>
                <a:gd name="connsiteY85" fmla="*/ 1022879 h 1030293"/>
                <a:gd name="connsiteX86" fmla="*/ 358775 w 1219200"/>
                <a:gd name="connsiteY86" fmla="*/ 1029229 h 1030293"/>
                <a:gd name="connsiteX87" fmla="*/ 377825 w 1219200"/>
                <a:gd name="connsiteY87" fmla="*/ 1026054 h 1030293"/>
                <a:gd name="connsiteX88" fmla="*/ 384175 w 1219200"/>
                <a:gd name="connsiteY88" fmla="*/ 1007004 h 1030293"/>
                <a:gd name="connsiteX89" fmla="*/ 390525 w 1219200"/>
                <a:gd name="connsiteY89" fmla="*/ 997479 h 1030293"/>
                <a:gd name="connsiteX90" fmla="*/ 412750 w 1219200"/>
                <a:gd name="connsiteY90" fmla="*/ 1000654 h 1030293"/>
                <a:gd name="connsiteX91" fmla="*/ 422275 w 1219200"/>
                <a:gd name="connsiteY91" fmla="*/ 1003829 h 1030293"/>
                <a:gd name="connsiteX92" fmla="*/ 428625 w 1219200"/>
                <a:gd name="connsiteY92" fmla="*/ 994304 h 1030293"/>
                <a:gd name="connsiteX93" fmla="*/ 419100 w 1219200"/>
                <a:gd name="connsiteY93" fmla="*/ 984779 h 1030293"/>
                <a:gd name="connsiteX94" fmla="*/ 412750 w 1219200"/>
                <a:gd name="connsiteY94" fmla="*/ 975254 h 1030293"/>
                <a:gd name="connsiteX95" fmla="*/ 393700 w 1219200"/>
                <a:gd name="connsiteY95" fmla="*/ 956204 h 1030293"/>
                <a:gd name="connsiteX96" fmla="*/ 384175 w 1219200"/>
                <a:gd name="connsiteY96" fmla="*/ 946679 h 1030293"/>
                <a:gd name="connsiteX97" fmla="*/ 365125 w 1219200"/>
                <a:gd name="connsiteY97" fmla="*/ 933979 h 1030293"/>
                <a:gd name="connsiteX98" fmla="*/ 361950 w 1219200"/>
                <a:gd name="connsiteY98" fmla="*/ 924454 h 1030293"/>
                <a:gd name="connsiteX99" fmla="*/ 381000 w 1219200"/>
                <a:gd name="connsiteY99" fmla="*/ 911754 h 1030293"/>
                <a:gd name="connsiteX100" fmla="*/ 390525 w 1219200"/>
                <a:gd name="connsiteY100" fmla="*/ 905404 h 1030293"/>
                <a:gd name="connsiteX101" fmla="*/ 425450 w 1219200"/>
                <a:gd name="connsiteY101" fmla="*/ 895879 h 1030293"/>
                <a:gd name="connsiteX102" fmla="*/ 476250 w 1219200"/>
                <a:gd name="connsiteY102" fmla="*/ 899054 h 1030293"/>
                <a:gd name="connsiteX103" fmla="*/ 498475 w 1219200"/>
                <a:gd name="connsiteY103" fmla="*/ 924454 h 1030293"/>
                <a:gd name="connsiteX104" fmla="*/ 508000 w 1219200"/>
                <a:gd name="connsiteY104" fmla="*/ 927629 h 1030293"/>
                <a:gd name="connsiteX105" fmla="*/ 530225 w 1219200"/>
                <a:gd name="connsiteY105" fmla="*/ 924454 h 1030293"/>
                <a:gd name="connsiteX106" fmla="*/ 552450 w 1219200"/>
                <a:gd name="connsiteY106" fmla="*/ 921279 h 1030293"/>
                <a:gd name="connsiteX107" fmla="*/ 555625 w 1219200"/>
                <a:gd name="connsiteY107" fmla="*/ 930804 h 1030293"/>
                <a:gd name="connsiteX108" fmla="*/ 561975 w 1219200"/>
                <a:gd name="connsiteY108" fmla="*/ 940329 h 1030293"/>
                <a:gd name="connsiteX109" fmla="*/ 565150 w 1219200"/>
                <a:gd name="connsiteY109" fmla="*/ 956204 h 1030293"/>
                <a:gd name="connsiteX110" fmla="*/ 568325 w 1219200"/>
                <a:gd name="connsiteY110" fmla="*/ 981604 h 1030293"/>
                <a:gd name="connsiteX111" fmla="*/ 577850 w 1219200"/>
                <a:gd name="connsiteY111" fmla="*/ 984779 h 1030293"/>
                <a:gd name="connsiteX112" fmla="*/ 593725 w 1219200"/>
                <a:gd name="connsiteY112" fmla="*/ 981604 h 1030293"/>
                <a:gd name="connsiteX113" fmla="*/ 612775 w 1219200"/>
                <a:gd name="connsiteY113" fmla="*/ 968904 h 1030293"/>
                <a:gd name="connsiteX114" fmla="*/ 619125 w 1219200"/>
                <a:gd name="connsiteY114" fmla="*/ 959379 h 1030293"/>
                <a:gd name="connsiteX115" fmla="*/ 625475 w 1219200"/>
                <a:gd name="connsiteY115" fmla="*/ 940329 h 1030293"/>
                <a:gd name="connsiteX116" fmla="*/ 619125 w 1219200"/>
                <a:gd name="connsiteY116" fmla="*/ 905404 h 1030293"/>
                <a:gd name="connsiteX117" fmla="*/ 615950 w 1219200"/>
                <a:gd name="connsiteY117" fmla="*/ 867304 h 1030293"/>
                <a:gd name="connsiteX118" fmla="*/ 609600 w 1219200"/>
                <a:gd name="connsiteY118" fmla="*/ 854604 h 1030293"/>
                <a:gd name="connsiteX119" fmla="*/ 596900 w 1219200"/>
                <a:gd name="connsiteY119" fmla="*/ 835554 h 1030293"/>
                <a:gd name="connsiteX120" fmla="*/ 603250 w 1219200"/>
                <a:gd name="connsiteY120" fmla="*/ 826029 h 1030293"/>
                <a:gd name="connsiteX121" fmla="*/ 622300 w 1219200"/>
                <a:gd name="connsiteY121" fmla="*/ 819679 h 1030293"/>
                <a:gd name="connsiteX122" fmla="*/ 631825 w 1219200"/>
                <a:gd name="connsiteY122" fmla="*/ 816504 h 1030293"/>
                <a:gd name="connsiteX123" fmla="*/ 644525 w 1219200"/>
                <a:gd name="connsiteY123" fmla="*/ 813329 h 1030293"/>
                <a:gd name="connsiteX124" fmla="*/ 654050 w 1219200"/>
                <a:gd name="connsiteY124" fmla="*/ 810154 h 1030293"/>
                <a:gd name="connsiteX125" fmla="*/ 685800 w 1219200"/>
                <a:gd name="connsiteY125" fmla="*/ 806979 h 1030293"/>
                <a:gd name="connsiteX126" fmla="*/ 692150 w 1219200"/>
                <a:gd name="connsiteY126" fmla="*/ 816504 h 1030293"/>
                <a:gd name="connsiteX127" fmla="*/ 692150 w 1219200"/>
                <a:gd name="connsiteY127" fmla="*/ 851429 h 1030293"/>
                <a:gd name="connsiteX128" fmla="*/ 701675 w 1219200"/>
                <a:gd name="connsiteY128" fmla="*/ 854604 h 1030293"/>
                <a:gd name="connsiteX129" fmla="*/ 714375 w 1219200"/>
                <a:gd name="connsiteY129" fmla="*/ 864129 h 1030293"/>
                <a:gd name="connsiteX130" fmla="*/ 723900 w 1219200"/>
                <a:gd name="connsiteY130" fmla="*/ 883179 h 1030293"/>
                <a:gd name="connsiteX131" fmla="*/ 739775 w 1219200"/>
                <a:gd name="connsiteY131" fmla="*/ 899054 h 1030293"/>
                <a:gd name="connsiteX132" fmla="*/ 752475 w 1219200"/>
                <a:gd name="connsiteY132" fmla="*/ 895879 h 1030293"/>
                <a:gd name="connsiteX133" fmla="*/ 762000 w 1219200"/>
                <a:gd name="connsiteY133" fmla="*/ 886354 h 1030293"/>
                <a:gd name="connsiteX134" fmla="*/ 831850 w 1219200"/>
                <a:gd name="connsiteY134" fmla="*/ 889529 h 1030293"/>
                <a:gd name="connsiteX135" fmla="*/ 879475 w 1219200"/>
                <a:gd name="connsiteY135" fmla="*/ 886354 h 1030293"/>
                <a:gd name="connsiteX136" fmla="*/ 892175 w 1219200"/>
                <a:gd name="connsiteY136" fmla="*/ 867304 h 1030293"/>
                <a:gd name="connsiteX137" fmla="*/ 911225 w 1219200"/>
                <a:gd name="connsiteY137" fmla="*/ 857779 h 1030293"/>
                <a:gd name="connsiteX138" fmla="*/ 920750 w 1219200"/>
                <a:gd name="connsiteY138" fmla="*/ 851429 h 1030293"/>
                <a:gd name="connsiteX139" fmla="*/ 923925 w 1219200"/>
                <a:gd name="connsiteY139" fmla="*/ 835554 h 1030293"/>
                <a:gd name="connsiteX140" fmla="*/ 914400 w 1219200"/>
                <a:gd name="connsiteY140" fmla="*/ 806979 h 1030293"/>
                <a:gd name="connsiteX141" fmla="*/ 904875 w 1219200"/>
                <a:gd name="connsiteY141" fmla="*/ 797454 h 1030293"/>
                <a:gd name="connsiteX142" fmla="*/ 889000 w 1219200"/>
                <a:gd name="connsiteY142" fmla="*/ 794279 h 1030293"/>
                <a:gd name="connsiteX143" fmla="*/ 879475 w 1219200"/>
                <a:gd name="connsiteY143" fmla="*/ 784754 h 1030293"/>
                <a:gd name="connsiteX144" fmla="*/ 889000 w 1219200"/>
                <a:gd name="connsiteY144" fmla="*/ 759354 h 1030293"/>
                <a:gd name="connsiteX145" fmla="*/ 898525 w 1219200"/>
                <a:gd name="connsiteY145" fmla="*/ 749829 h 1030293"/>
                <a:gd name="connsiteX146" fmla="*/ 904875 w 1219200"/>
                <a:gd name="connsiteY146" fmla="*/ 740304 h 1030293"/>
                <a:gd name="connsiteX147" fmla="*/ 923925 w 1219200"/>
                <a:gd name="connsiteY147" fmla="*/ 727604 h 1030293"/>
                <a:gd name="connsiteX148" fmla="*/ 942975 w 1219200"/>
                <a:gd name="connsiteY148" fmla="*/ 718079 h 1030293"/>
                <a:gd name="connsiteX149" fmla="*/ 952500 w 1219200"/>
                <a:gd name="connsiteY149" fmla="*/ 724429 h 1030293"/>
                <a:gd name="connsiteX150" fmla="*/ 955675 w 1219200"/>
                <a:gd name="connsiteY150" fmla="*/ 733954 h 1030293"/>
                <a:gd name="connsiteX151" fmla="*/ 958850 w 1219200"/>
                <a:gd name="connsiteY151" fmla="*/ 759354 h 1030293"/>
                <a:gd name="connsiteX152" fmla="*/ 977900 w 1219200"/>
                <a:gd name="connsiteY152" fmla="*/ 768879 h 1030293"/>
                <a:gd name="connsiteX153" fmla="*/ 1003300 w 1219200"/>
                <a:gd name="connsiteY153" fmla="*/ 756179 h 1030293"/>
                <a:gd name="connsiteX154" fmla="*/ 1000125 w 1219200"/>
                <a:gd name="connsiteY154" fmla="*/ 746654 h 1030293"/>
                <a:gd name="connsiteX155" fmla="*/ 1003300 w 1219200"/>
                <a:gd name="connsiteY155" fmla="*/ 737129 h 1030293"/>
                <a:gd name="connsiteX156" fmla="*/ 1012825 w 1219200"/>
                <a:gd name="connsiteY156" fmla="*/ 730779 h 1030293"/>
                <a:gd name="connsiteX157" fmla="*/ 1041400 w 1219200"/>
                <a:gd name="connsiteY157" fmla="*/ 721254 h 1030293"/>
                <a:gd name="connsiteX158" fmla="*/ 1050925 w 1219200"/>
                <a:gd name="connsiteY158" fmla="*/ 718079 h 1030293"/>
                <a:gd name="connsiteX159" fmla="*/ 1060450 w 1219200"/>
                <a:gd name="connsiteY159" fmla="*/ 714904 h 1030293"/>
                <a:gd name="connsiteX160" fmla="*/ 1069975 w 1219200"/>
                <a:gd name="connsiteY160" fmla="*/ 708554 h 1030293"/>
                <a:gd name="connsiteX161" fmla="*/ 1079500 w 1219200"/>
                <a:gd name="connsiteY161" fmla="*/ 689504 h 1030293"/>
                <a:gd name="connsiteX162" fmla="*/ 1073150 w 1219200"/>
                <a:gd name="connsiteY162" fmla="*/ 679979 h 1030293"/>
                <a:gd name="connsiteX163" fmla="*/ 1054100 w 1219200"/>
                <a:gd name="connsiteY163" fmla="*/ 664104 h 1030293"/>
                <a:gd name="connsiteX164" fmla="*/ 1047750 w 1219200"/>
                <a:gd name="connsiteY164" fmla="*/ 654579 h 1030293"/>
                <a:gd name="connsiteX165" fmla="*/ 1044575 w 1219200"/>
                <a:gd name="connsiteY165" fmla="*/ 645054 h 1030293"/>
                <a:gd name="connsiteX166" fmla="*/ 1035050 w 1219200"/>
                <a:gd name="connsiteY166" fmla="*/ 632354 h 1030293"/>
                <a:gd name="connsiteX167" fmla="*/ 1041400 w 1219200"/>
                <a:gd name="connsiteY167" fmla="*/ 594254 h 1030293"/>
                <a:gd name="connsiteX168" fmla="*/ 1047750 w 1219200"/>
                <a:gd name="connsiteY168" fmla="*/ 584729 h 1030293"/>
                <a:gd name="connsiteX169" fmla="*/ 1066800 w 1219200"/>
                <a:gd name="connsiteY169" fmla="*/ 578379 h 1030293"/>
                <a:gd name="connsiteX170" fmla="*/ 1098550 w 1219200"/>
                <a:gd name="connsiteY170" fmla="*/ 578379 h 1030293"/>
                <a:gd name="connsiteX171" fmla="*/ 1108075 w 1219200"/>
                <a:gd name="connsiteY171" fmla="*/ 572029 h 1030293"/>
                <a:gd name="connsiteX172" fmla="*/ 1114425 w 1219200"/>
                <a:gd name="connsiteY172" fmla="*/ 562504 h 1030293"/>
                <a:gd name="connsiteX173" fmla="*/ 1143000 w 1219200"/>
                <a:gd name="connsiteY173" fmla="*/ 546629 h 1030293"/>
                <a:gd name="connsiteX174" fmla="*/ 1146175 w 1219200"/>
                <a:gd name="connsiteY174" fmla="*/ 533929 h 1030293"/>
                <a:gd name="connsiteX175" fmla="*/ 1155700 w 1219200"/>
                <a:gd name="connsiteY175" fmla="*/ 530754 h 1030293"/>
                <a:gd name="connsiteX176" fmla="*/ 1203325 w 1219200"/>
                <a:gd name="connsiteY176" fmla="*/ 521229 h 1030293"/>
                <a:gd name="connsiteX177" fmla="*/ 1212850 w 1219200"/>
                <a:gd name="connsiteY177" fmla="*/ 518054 h 1030293"/>
                <a:gd name="connsiteX178" fmla="*/ 1219200 w 1219200"/>
                <a:gd name="connsiteY178" fmla="*/ 495829 h 1030293"/>
                <a:gd name="connsiteX179" fmla="*/ 1203325 w 1219200"/>
                <a:gd name="connsiteY179" fmla="*/ 464079 h 1030293"/>
                <a:gd name="connsiteX180" fmla="*/ 1184275 w 1219200"/>
                <a:gd name="connsiteY180" fmla="*/ 457729 h 1030293"/>
                <a:gd name="connsiteX181" fmla="*/ 1174750 w 1219200"/>
                <a:gd name="connsiteY181" fmla="*/ 454554 h 1030293"/>
                <a:gd name="connsiteX182" fmla="*/ 1165225 w 1219200"/>
                <a:gd name="connsiteY182" fmla="*/ 448204 h 1030293"/>
                <a:gd name="connsiteX183" fmla="*/ 1162050 w 1219200"/>
                <a:gd name="connsiteY183" fmla="*/ 438679 h 1030293"/>
                <a:gd name="connsiteX184" fmla="*/ 1155700 w 1219200"/>
                <a:gd name="connsiteY184" fmla="*/ 429154 h 1030293"/>
                <a:gd name="connsiteX185" fmla="*/ 1152525 w 1219200"/>
                <a:gd name="connsiteY185" fmla="*/ 410104 h 1030293"/>
                <a:gd name="connsiteX186" fmla="*/ 1136650 w 1219200"/>
                <a:gd name="connsiteY186" fmla="*/ 394229 h 1030293"/>
                <a:gd name="connsiteX187" fmla="*/ 1123950 w 1219200"/>
                <a:gd name="connsiteY187" fmla="*/ 391054 h 1030293"/>
                <a:gd name="connsiteX188" fmla="*/ 1101725 w 1219200"/>
                <a:gd name="connsiteY188" fmla="*/ 387879 h 1030293"/>
                <a:gd name="connsiteX189" fmla="*/ 1063625 w 1219200"/>
                <a:gd name="connsiteY189" fmla="*/ 384704 h 1030293"/>
                <a:gd name="connsiteX190" fmla="*/ 1057275 w 1219200"/>
                <a:gd name="connsiteY190" fmla="*/ 416454 h 1030293"/>
                <a:gd name="connsiteX191" fmla="*/ 1063625 w 1219200"/>
                <a:gd name="connsiteY191" fmla="*/ 435504 h 1030293"/>
                <a:gd name="connsiteX192" fmla="*/ 1066800 w 1219200"/>
                <a:gd name="connsiteY192" fmla="*/ 445029 h 1030293"/>
                <a:gd name="connsiteX193" fmla="*/ 1057275 w 1219200"/>
                <a:gd name="connsiteY193" fmla="*/ 479954 h 1030293"/>
                <a:gd name="connsiteX194" fmla="*/ 1057275 w 1219200"/>
                <a:gd name="connsiteY194" fmla="*/ 479954 h 1030293"/>
                <a:gd name="connsiteX195" fmla="*/ 1054100 w 1219200"/>
                <a:gd name="connsiteY195" fmla="*/ 492654 h 1030293"/>
                <a:gd name="connsiteX196" fmla="*/ 1044575 w 1219200"/>
                <a:gd name="connsiteY196" fmla="*/ 499004 h 1030293"/>
                <a:gd name="connsiteX197" fmla="*/ 1028700 w 1219200"/>
                <a:gd name="connsiteY197" fmla="*/ 495829 h 1030293"/>
                <a:gd name="connsiteX198" fmla="*/ 1009650 w 1219200"/>
                <a:gd name="connsiteY198" fmla="*/ 483129 h 1030293"/>
                <a:gd name="connsiteX199" fmla="*/ 965200 w 1219200"/>
                <a:gd name="connsiteY199" fmla="*/ 489479 h 1030293"/>
                <a:gd name="connsiteX200" fmla="*/ 939800 w 1219200"/>
                <a:gd name="connsiteY200" fmla="*/ 486304 h 1030293"/>
                <a:gd name="connsiteX201" fmla="*/ 923925 w 1219200"/>
                <a:gd name="connsiteY201" fmla="*/ 470429 h 1030293"/>
                <a:gd name="connsiteX202" fmla="*/ 914400 w 1219200"/>
                <a:gd name="connsiteY202" fmla="*/ 464079 h 1030293"/>
                <a:gd name="connsiteX203" fmla="*/ 901700 w 1219200"/>
                <a:gd name="connsiteY203" fmla="*/ 435504 h 1030293"/>
                <a:gd name="connsiteX204" fmla="*/ 819150 w 1219200"/>
                <a:gd name="connsiteY204" fmla="*/ 425979 h 1030293"/>
                <a:gd name="connsiteX205" fmla="*/ 809625 w 1219200"/>
                <a:gd name="connsiteY205" fmla="*/ 422804 h 1030293"/>
                <a:gd name="connsiteX206" fmla="*/ 781050 w 1219200"/>
                <a:gd name="connsiteY206" fmla="*/ 406929 h 1030293"/>
                <a:gd name="connsiteX207" fmla="*/ 752475 w 1219200"/>
                <a:gd name="connsiteY207" fmla="*/ 391054 h 1030293"/>
                <a:gd name="connsiteX208" fmla="*/ 704850 w 1219200"/>
                <a:gd name="connsiteY208" fmla="*/ 387879 h 1030293"/>
                <a:gd name="connsiteX209" fmla="*/ 695325 w 1219200"/>
                <a:gd name="connsiteY209" fmla="*/ 384704 h 1030293"/>
                <a:gd name="connsiteX210" fmla="*/ 688975 w 1219200"/>
                <a:gd name="connsiteY210" fmla="*/ 375179 h 1030293"/>
                <a:gd name="connsiteX211" fmla="*/ 679450 w 1219200"/>
                <a:gd name="connsiteY211" fmla="*/ 340254 h 1030293"/>
                <a:gd name="connsiteX212" fmla="*/ 676275 w 1219200"/>
                <a:gd name="connsiteY212" fmla="*/ 311679 h 1030293"/>
                <a:gd name="connsiteX213" fmla="*/ 654050 w 1219200"/>
                <a:gd name="connsiteY213" fmla="*/ 298979 h 1030293"/>
                <a:gd name="connsiteX214" fmla="*/ 673100 w 1219200"/>
                <a:gd name="connsiteY214" fmla="*/ 286279 h 1030293"/>
                <a:gd name="connsiteX215" fmla="*/ 682625 w 1219200"/>
                <a:gd name="connsiteY215" fmla="*/ 251354 h 1030293"/>
                <a:gd name="connsiteX216" fmla="*/ 679450 w 1219200"/>
                <a:gd name="connsiteY216" fmla="*/ 225954 h 1030293"/>
                <a:gd name="connsiteX217" fmla="*/ 663575 w 1219200"/>
                <a:gd name="connsiteY217" fmla="*/ 210079 h 1030293"/>
                <a:gd name="connsiteX218" fmla="*/ 635000 w 1219200"/>
                <a:gd name="connsiteY218" fmla="*/ 187854 h 1030293"/>
                <a:gd name="connsiteX219" fmla="*/ 625475 w 1219200"/>
                <a:gd name="connsiteY219" fmla="*/ 181504 h 1030293"/>
                <a:gd name="connsiteX220" fmla="*/ 615950 w 1219200"/>
                <a:gd name="connsiteY220" fmla="*/ 178329 h 1030293"/>
                <a:gd name="connsiteX221" fmla="*/ 571500 w 1219200"/>
                <a:gd name="connsiteY221" fmla="*/ 175154 h 1030293"/>
                <a:gd name="connsiteX222" fmla="*/ 536575 w 1219200"/>
                <a:gd name="connsiteY222" fmla="*/ 171979 h 1030293"/>
                <a:gd name="connsiteX223" fmla="*/ 485775 w 1219200"/>
                <a:gd name="connsiteY223" fmla="*/ 165629 h 1030293"/>
                <a:gd name="connsiteX224" fmla="*/ 473075 w 1219200"/>
                <a:gd name="connsiteY224" fmla="*/ 162454 h 1030293"/>
                <a:gd name="connsiteX225" fmla="*/ 463550 w 1219200"/>
                <a:gd name="connsiteY225" fmla="*/ 152929 h 1030293"/>
                <a:gd name="connsiteX226" fmla="*/ 460375 w 1219200"/>
                <a:gd name="connsiteY226" fmla="*/ 143404 h 1030293"/>
                <a:gd name="connsiteX227" fmla="*/ 450850 w 1219200"/>
                <a:gd name="connsiteY227" fmla="*/ 105304 h 1030293"/>
                <a:gd name="connsiteX228" fmla="*/ 434975 w 1219200"/>
                <a:gd name="connsiteY228" fmla="*/ 86254 h 1030293"/>
                <a:gd name="connsiteX229" fmla="*/ 428625 w 1219200"/>
                <a:gd name="connsiteY229" fmla="*/ 38629 h 1030293"/>
                <a:gd name="connsiteX230" fmla="*/ 425450 w 1219200"/>
                <a:gd name="connsiteY230" fmla="*/ 29104 h 1030293"/>
                <a:gd name="connsiteX231" fmla="*/ 406400 w 1219200"/>
                <a:gd name="connsiteY231" fmla="*/ 19579 h 1030293"/>
                <a:gd name="connsiteX232" fmla="*/ 384175 w 1219200"/>
                <a:gd name="connsiteY232" fmla="*/ 10054 h 1030293"/>
                <a:gd name="connsiteX233" fmla="*/ 361950 w 1219200"/>
                <a:gd name="connsiteY233" fmla="*/ 6879 h 1030293"/>
                <a:gd name="connsiteX234" fmla="*/ 342900 w 1219200"/>
                <a:gd name="connsiteY234" fmla="*/ 10054 h 1030293"/>
                <a:gd name="connsiteX235" fmla="*/ 339725 w 1219200"/>
                <a:gd name="connsiteY235" fmla="*/ 19579 h 1030293"/>
                <a:gd name="connsiteX236" fmla="*/ 342900 w 1219200"/>
                <a:gd name="connsiteY236" fmla="*/ 6879 h 1030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1219200" h="1030293">
                  <a:moveTo>
                    <a:pt x="342900" y="6879"/>
                  </a:moveTo>
                  <a:cubicBezTo>
                    <a:pt x="341842" y="13758"/>
                    <a:pt x="347191" y="49801"/>
                    <a:pt x="333375" y="60854"/>
                  </a:cubicBezTo>
                  <a:cubicBezTo>
                    <a:pt x="330762" y="62945"/>
                    <a:pt x="327068" y="63110"/>
                    <a:pt x="323850" y="64029"/>
                  </a:cubicBezTo>
                  <a:cubicBezTo>
                    <a:pt x="319654" y="65228"/>
                    <a:pt x="315383" y="66146"/>
                    <a:pt x="311150" y="67204"/>
                  </a:cubicBezTo>
                  <a:cubicBezTo>
                    <a:pt x="294020" y="62922"/>
                    <a:pt x="297916" y="62198"/>
                    <a:pt x="276225" y="67204"/>
                  </a:cubicBezTo>
                  <a:cubicBezTo>
                    <a:pt x="269703" y="68709"/>
                    <a:pt x="257175" y="73554"/>
                    <a:pt x="257175" y="73554"/>
                  </a:cubicBezTo>
                  <a:cubicBezTo>
                    <a:pt x="252942" y="72496"/>
                    <a:pt x="248486" y="72098"/>
                    <a:pt x="244475" y="70379"/>
                  </a:cubicBezTo>
                  <a:cubicBezTo>
                    <a:pt x="240968" y="68876"/>
                    <a:pt x="238728" y="64569"/>
                    <a:pt x="234950" y="64029"/>
                  </a:cubicBezTo>
                  <a:cubicBezTo>
                    <a:pt x="230630" y="63412"/>
                    <a:pt x="226336" y="65672"/>
                    <a:pt x="222250" y="67204"/>
                  </a:cubicBezTo>
                  <a:cubicBezTo>
                    <a:pt x="213043" y="70657"/>
                    <a:pt x="207921" y="74640"/>
                    <a:pt x="200025" y="79904"/>
                  </a:cubicBezTo>
                  <a:cubicBezTo>
                    <a:pt x="198967" y="83079"/>
                    <a:pt x="197731" y="86200"/>
                    <a:pt x="196850" y="89429"/>
                  </a:cubicBezTo>
                  <a:cubicBezTo>
                    <a:pt x="191974" y="107307"/>
                    <a:pt x="195352" y="114769"/>
                    <a:pt x="180975" y="124354"/>
                  </a:cubicBezTo>
                  <a:cubicBezTo>
                    <a:pt x="178190" y="126210"/>
                    <a:pt x="174625" y="126471"/>
                    <a:pt x="171450" y="127529"/>
                  </a:cubicBezTo>
                  <a:cubicBezTo>
                    <a:pt x="168275" y="129646"/>
                    <a:pt x="165338" y="132172"/>
                    <a:pt x="161925" y="133879"/>
                  </a:cubicBezTo>
                  <a:cubicBezTo>
                    <a:pt x="147606" y="141039"/>
                    <a:pt x="156524" y="132030"/>
                    <a:pt x="142875" y="143404"/>
                  </a:cubicBezTo>
                  <a:cubicBezTo>
                    <a:pt x="139426" y="146279"/>
                    <a:pt x="137275" y="150748"/>
                    <a:pt x="133350" y="152929"/>
                  </a:cubicBezTo>
                  <a:cubicBezTo>
                    <a:pt x="127499" y="156180"/>
                    <a:pt x="120650" y="157162"/>
                    <a:pt x="114300" y="159279"/>
                  </a:cubicBezTo>
                  <a:lnTo>
                    <a:pt x="104775" y="162454"/>
                  </a:lnTo>
                  <a:cubicBezTo>
                    <a:pt x="89681" y="172517"/>
                    <a:pt x="98870" y="167597"/>
                    <a:pt x="76200" y="175154"/>
                  </a:cubicBezTo>
                  <a:lnTo>
                    <a:pt x="66675" y="178329"/>
                  </a:lnTo>
                  <a:lnTo>
                    <a:pt x="57150" y="181504"/>
                  </a:lnTo>
                  <a:cubicBezTo>
                    <a:pt x="31750" y="198437"/>
                    <a:pt x="62442" y="176212"/>
                    <a:pt x="41275" y="197379"/>
                  </a:cubicBezTo>
                  <a:cubicBezTo>
                    <a:pt x="38577" y="200077"/>
                    <a:pt x="34925" y="201612"/>
                    <a:pt x="31750" y="203729"/>
                  </a:cubicBezTo>
                  <a:cubicBezTo>
                    <a:pt x="29633" y="206904"/>
                    <a:pt x="25654" y="209447"/>
                    <a:pt x="25400" y="213254"/>
                  </a:cubicBezTo>
                  <a:cubicBezTo>
                    <a:pt x="24552" y="225970"/>
                    <a:pt x="25164" y="239075"/>
                    <a:pt x="28575" y="251354"/>
                  </a:cubicBezTo>
                  <a:cubicBezTo>
                    <a:pt x="31648" y="262415"/>
                    <a:pt x="40797" y="271753"/>
                    <a:pt x="50800" y="276754"/>
                  </a:cubicBezTo>
                  <a:cubicBezTo>
                    <a:pt x="53793" y="278251"/>
                    <a:pt x="57150" y="278871"/>
                    <a:pt x="60325" y="279929"/>
                  </a:cubicBezTo>
                  <a:cubicBezTo>
                    <a:pt x="63500" y="283104"/>
                    <a:pt x="67622" y="285555"/>
                    <a:pt x="69850" y="289454"/>
                  </a:cubicBezTo>
                  <a:cubicBezTo>
                    <a:pt x="72015" y="293243"/>
                    <a:pt x="71306" y="298143"/>
                    <a:pt x="73025" y="302154"/>
                  </a:cubicBezTo>
                  <a:cubicBezTo>
                    <a:pt x="77347" y="312238"/>
                    <a:pt x="88724" y="321145"/>
                    <a:pt x="98425" y="324379"/>
                  </a:cubicBezTo>
                  <a:cubicBezTo>
                    <a:pt x="129086" y="334599"/>
                    <a:pt x="81416" y="318211"/>
                    <a:pt x="120650" y="333904"/>
                  </a:cubicBezTo>
                  <a:cubicBezTo>
                    <a:pt x="126865" y="336390"/>
                    <a:pt x="139700" y="340254"/>
                    <a:pt x="139700" y="340254"/>
                  </a:cubicBezTo>
                  <a:cubicBezTo>
                    <a:pt x="147128" y="362538"/>
                    <a:pt x="149585" y="361039"/>
                    <a:pt x="142875" y="387879"/>
                  </a:cubicBezTo>
                  <a:cubicBezTo>
                    <a:pt x="141950" y="391581"/>
                    <a:pt x="139223" y="394706"/>
                    <a:pt x="136525" y="397404"/>
                  </a:cubicBezTo>
                  <a:cubicBezTo>
                    <a:pt x="133827" y="400102"/>
                    <a:pt x="130175" y="401637"/>
                    <a:pt x="127000" y="403754"/>
                  </a:cubicBezTo>
                  <a:cubicBezTo>
                    <a:pt x="122277" y="417923"/>
                    <a:pt x="122913" y="410764"/>
                    <a:pt x="127000" y="429154"/>
                  </a:cubicBezTo>
                  <a:cubicBezTo>
                    <a:pt x="127947" y="433414"/>
                    <a:pt x="127449" y="438447"/>
                    <a:pt x="130175" y="441854"/>
                  </a:cubicBezTo>
                  <a:cubicBezTo>
                    <a:pt x="132266" y="444467"/>
                    <a:pt x="136525" y="443971"/>
                    <a:pt x="139700" y="445029"/>
                  </a:cubicBezTo>
                  <a:cubicBezTo>
                    <a:pt x="141817" y="448204"/>
                    <a:pt x="145510" y="450776"/>
                    <a:pt x="146050" y="454554"/>
                  </a:cubicBezTo>
                  <a:cubicBezTo>
                    <a:pt x="148010" y="468277"/>
                    <a:pt x="140915" y="469406"/>
                    <a:pt x="130175" y="470429"/>
                  </a:cubicBezTo>
                  <a:cubicBezTo>
                    <a:pt x="112233" y="472138"/>
                    <a:pt x="94192" y="472546"/>
                    <a:pt x="76200" y="473604"/>
                  </a:cubicBezTo>
                  <a:cubicBezTo>
                    <a:pt x="72989" y="478420"/>
                    <a:pt x="66675" y="486081"/>
                    <a:pt x="66675" y="492654"/>
                  </a:cubicBezTo>
                  <a:cubicBezTo>
                    <a:pt x="66675" y="500317"/>
                    <a:pt x="70520" y="510538"/>
                    <a:pt x="73025" y="518054"/>
                  </a:cubicBezTo>
                  <a:cubicBezTo>
                    <a:pt x="74083" y="525462"/>
                    <a:pt x="75062" y="532882"/>
                    <a:pt x="76200" y="540279"/>
                  </a:cubicBezTo>
                  <a:cubicBezTo>
                    <a:pt x="77179" y="546642"/>
                    <a:pt x="80936" y="553084"/>
                    <a:pt x="79375" y="559329"/>
                  </a:cubicBezTo>
                  <a:cubicBezTo>
                    <a:pt x="75142" y="576262"/>
                    <a:pt x="60325" y="582612"/>
                    <a:pt x="47625" y="591079"/>
                  </a:cubicBezTo>
                  <a:lnTo>
                    <a:pt x="38100" y="597429"/>
                  </a:lnTo>
                  <a:cubicBezTo>
                    <a:pt x="34925" y="599546"/>
                    <a:pt x="31273" y="601081"/>
                    <a:pt x="28575" y="603779"/>
                  </a:cubicBezTo>
                  <a:lnTo>
                    <a:pt x="19050" y="613304"/>
                  </a:lnTo>
                  <a:cubicBezTo>
                    <a:pt x="22013" y="634048"/>
                    <a:pt x="25815" y="648466"/>
                    <a:pt x="19050" y="670454"/>
                  </a:cubicBezTo>
                  <a:cubicBezTo>
                    <a:pt x="17928" y="674101"/>
                    <a:pt x="12700" y="674687"/>
                    <a:pt x="9525" y="676804"/>
                  </a:cubicBezTo>
                  <a:lnTo>
                    <a:pt x="3175" y="695854"/>
                  </a:lnTo>
                  <a:lnTo>
                    <a:pt x="0" y="705379"/>
                  </a:lnTo>
                  <a:cubicBezTo>
                    <a:pt x="1693" y="710459"/>
                    <a:pt x="2540" y="721466"/>
                    <a:pt x="12700" y="718079"/>
                  </a:cubicBezTo>
                  <a:cubicBezTo>
                    <a:pt x="16960" y="716659"/>
                    <a:pt x="18489" y="711045"/>
                    <a:pt x="22225" y="708554"/>
                  </a:cubicBezTo>
                  <a:cubicBezTo>
                    <a:pt x="25010" y="706698"/>
                    <a:pt x="28532" y="706298"/>
                    <a:pt x="31750" y="705379"/>
                  </a:cubicBezTo>
                  <a:cubicBezTo>
                    <a:pt x="59657" y="697406"/>
                    <a:pt x="31137" y="706642"/>
                    <a:pt x="53975" y="699029"/>
                  </a:cubicBezTo>
                  <a:cubicBezTo>
                    <a:pt x="62106" y="700655"/>
                    <a:pt x="76141" y="700409"/>
                    <a:pt x="79375" y="711729"/>
                  </a:cubicBezTo>
                  <a:cubicBezTo>
                    <a:pt x="80574" y="715925"/>
                    <a:pt x="77399" y="720233"/>
                    <a:pt x="76200" y="724429"/>
                  </a:cubicBezTo>
                  <a:cubicBezTo>
                    <a:pt x="69252" y="748745"/>
                    <a:pt x="77807" y="718432"/>
                    <a:pt x="66675" y="743479"/>
                  </a:cubicBezTo>
                  <a:cubicBezTo>
                    <a:pt x="63957" y="749596"/>
                    <a:pt x="60325" y="762529"/>
                    <a:pt x="60325" y="762529"/>
                  </a:cubicBezTo>
                  <a:lnTo>
                    <a:pt x="63500" y="810154"/>
                  </a:lnTo>
                  <a:cubicBezTo>
                    <a:pt x="64968" y="814263"/>
                    <a:pt x="72411" y="809144"/>
                    <a:pt x="76200" y="806979"/>
                  </a:cubicBezTo>
                  <a:cubicBezTo>
                    <a:pt x="80099" y="804751"/>
                    <a:pt x="82276" y="800329"/>
                    <a:pt x="85725" y="797454"/>
                  </a:cubicBezTo>
                  <a:cubicBezTo>
                    <a:pt x="93931" y="790615"/>
                    <a:pt x="95229" y="791111"/>
                    <a:pt x="104775" y="787929"/>
                  </a:cubicBezTo>
                  <a:cubicBezTo>
                    <a:pt x="109008" y="784754"/>
                    <a:pt x="112341" y="779687"/>
                    <a:pt x="117475" y="778404"/>
                  </a:cubicBezTo>
                  <a:cubicBezTo>
                    <a:pt x="127709" y="775846"/>
                    <a:pt x="134110" y="785514"/>
                    <a:pt x="139700" y="791104"/>
                  </a:cubicBezTo>
                  <a:cubicBezTo>
                    <a:pt x="144434" y="805305"/>
                    <a:pt x="143354" y="811532"/>
                    <a:pt x="155575" y="819679"/>
                  </a:cubicBezTo>
                  <a:cubicBezTo>
                    <a:pt x="158360" y="821535"/>
                    <a:pt x="161853" y="822042"/>
                    <a:pt x="165100" y="822854"/>
                  </a:cubicBezTo>
                  <a:cubicBezTo>
                    <a:pt x="170335" y="824163"/>
                    <a:pt x="175683" y="824971"/>
                    <a:pt x="180975" y="826029"/>
                  </a:cubicBezTo>
                  <a:cubicBezTo>
                    <a:pt x="184150" y="830262"/>
                    <a:pt x="186758" y="834987"/>
                    <a:pt x="190500" y="838729"/>
                  </a:cubicBezTo>
                  <a:cubicBezTo>
                    <a:pt x="193198" y="841427"/>
                    <a:pt x="197641" y="842099"/>
                    <a:pt x="200025" y="845079"/>
                  </a:cubicBezTo>
                  <a:cubicBezTo>
                    <a:pt x="202116" y="847692"/>
                    <a:pt x="201703" y="851611"/>
                    <a:pt x="203200" y="854604"/>
                  </a:cubicBezTo>
                  <a:cubicBezTo>
                    <a:pt x="204907" y="858017"/>
                    <a:pt x="207843" y="860716"/>
                    <a:pt x="209550" y="864129"/>
                  </a:cubicBezTo>
                  <a:cubicBezTo>
                    <a:pt x="215340" y="875709"/>
                    <a:pt x="210409" y="882693"/>
                    <a:pt x="225425" y="892704"/>
                  </a:cubicBezTo>
                  <a:lnTo>
                    <a:pt x="244475" y="905404"/>
                  </a:lnTo>
                  <a:lnTo>
                    <a:pt x="254000" y="911754"/>
                  </a:lnTo>
                  <a:cubicBezTo>
                    <a:pt x="257175" y="909637"/>
                    <a:pt x="262108" y="908947"/>
                    <a:pt x="263525" y="905404"/>
                  </a:cubicBezTo>
                  <a:cubicBezTo>
                    <a:pt x="264768" y="902297"/>
                    <a:pt x="260350" y="892532"/>
                    <a:pt x="260350" y="895879"/>
                  </a:cubicBezTo>
                  <a:cubicBezTo>
                    <a:pt x="260350" y="900243"/>
                    <a:pt x="262326" y="904383"/>
                    <a:pt x="263525" y="908579"/>
                  </a:cubicBezTo>
                  <a:cubicBezTo>
                    <a:pt x="266704" y="919707"/>
                    <a:pt x="266233" y="919302"/>
                    <a:pt x="276225" y="927629"/>
                  </a:cubicBezTo>
                  <a:cubicBezTo>
                    <a:pt x="281512" y="932035"/>
                    <a:pt x="292478" y="937940"/>
                    <a:pt x="298450" y="940329"/>
                  </a:cubicBezTo>
                  <a:cubicBezTo>
                    <a:pt x="304665" y="942815"/>
                    <a:pt x="317500" y="946679"/>
                    <a:pt x="317500" y="946679"/>
                  </a:cubicBezTo>
                  <a:cubicBezTo>
                    <a:pt x="319029" y="961969"/>
                    <a:pt x="319697" y="979075"/>
                    <a:pt x="323850" y="994304"/>
                  </a:cubicBezTo>
                  <a:cubicBezTo>
                    <a:pt x="325611" y="1000762"/>
                    <a:pt x="328083" y="1007004"/>
                    <a:pt x="330200" y="1013354"/>
                  </a:cubicBezTo>
                  <a:cubicBezTo>
                    <a:pt x="331739" y="1017970"/>
                    <a:pt x="345552" y="1021646"/>
                    <a:pt x="349250" y="1022879"/>
                  </a:cubicBezTo>
                  <a:cubicBezTo>
                    <a:pt x="352425" y="1024996"/>
                    <a:pt x="354982" y="1028808"/>
                    <a:pt x="358775" y="1029229"/>
                  </a:cubicBezTo>
                  <a:cubicBezTo>
                    <a:pt x="365173" y="1029940"/>
                    <a:pt x="372980" y="1030293"/>
                    <a:pt x="377825" y="1026054"/>
                  </a:cubicBezTo>
                  <a:cubicBezTo>
                    <a:pt x="382862" y="1021646"/>
                    <a:pt x="380462" y="1012573"/>
                    <a:pt x="384175" y="1007004"/>
                  </a:cubicBezTo>
                  <a:lnTo>
                    <a:pt x="390525" y="997479"/>
                  </a:lnTo>
                  <a:cubicBezTo>
                    <a:pt x="397933" y="998537"/>
                    <a:pt x="405412" y="999186"/>
                    <a:pt x="412750" y="1000654"/>
                  </a:cubicBezTo>
                  <a:cubicBezTo>
                    <a:pt x="416032" y="1001310"/>
                    <a:pt x="419168" y="1005072"/>
                    <a:pt x="422275" y="1003829"/>
                  </a:cubicBezTo>
                  <a:cubicBezTo>
                    <a:pt x="425818" y="1002412"/>
                    <a:pt x="426508" y="997479"/>
                    <a:pt x="428625" y="994304"/>
                  </a:cubicBezTo>
                  <a:cubicBezTo>
                    <a:pt x="425450" y="991129"/>
                    <a:pt x="421975" y="988228"/>
                    <a:pt x="419100" y="984779"/>
                  </a:cubicBezTo>
                  <a:cubicBezTo>
                    <a:pt x="416657" y="981848"/>
                    <a:pt x="415285" y="978106"/>
                    <a:pt x="412750" y="975254"/>
                  </a:cubicBezTo>
                  <a:cubicBezTo>
                    <a:pt x="406784" y="968542"/>
                    <a:pt x="400050" y="962554"/>
                    <a:pt x="393700" y="956204"/>
                  </a:cubicBezTo>
                  <a:cubicBezTo>
                    <a:pt x="390525" y="953029"/>
                    <a:pt x="387911" y="949170"/>
                    <a:pt x="384175" y="946679"/>
                  </a:cubicBezTo>
                  <a:lnTo>
                    <a:pt x="365125" y="933979"/>
                  </a:lnTo>
                  <a:cubicBezTo>
                    <a:pt x="364067" y="930804"/>
                    <a:pt x="360005" y="927177"/>
                    <a:pt x="361950" y="924454"/>
                  </a:cubicBezTo>
                  <a:cubicBezTo>
                    <a:pt x="366386" y="918244"/>
                    <a:pt x="374650" y="915987"/>
                    <a:pt x="381000" y="911754"/>
                  </a:cubicBezTo>
                  <a:lnTo>
                    <a:pt x="390525" y="905404"/>
                  </a:lnTo>
                  <a:cubicBezTo>
                    <a:pt x="397431" y="900800"/>
                    <a:pt x="416930" y="897583"/>
                    <a:pt x="425450" y="895879"/>
                  </a:cubicBezTo>
                  <a:cubicBezTo>
                    <a:pt x="442383" y="896937"/>
                    <a:pt x="459491" y="896408"/>
                    <a:pt x="476250" y="899054"/>
                  </a:cubicBezTo>
                  <a:cubicBezTo>
                    <a:pt x="495353" y="902070"/>
                    <a:pt x="477203" y="917363"/>
                    <a:pt x="498475" y="924454"/>
                  </a:cubicBezTo>
                  <a:lnTo>
                    <a:pt x="508000" y="927629"/>
                  </a:lnTo>
                  <a:cubicBezTo>
                    <a:pt x="515408" y="926571"/>
                    <a:pt x="523057" y="926604"/>
                    <a:pt x="530225" y="924454"/>
                  </a:cubicBezTo>
                  <a:cubicBezTo>
                    <a:pt x="552151" y="917876"/>
                    <a:pt x="526019" y="914671"/>
                    <a:pt x="552450" y="921279"/>
                  </a:cubicBezTo>
                  <a:cubicBezTo>
                    <a:pt x="553508" y="924454"/>
                    <a:pt x="554128" y="927811"/>
                    <a:pt x="555625" y="930804"/>
                  </a:cubicBezTo>
                  <a:cubicBezTo>
                    <a:pt x="557332" y="934217"/>
                    <a:pt x="560635" y="936756"/>
                    <a:pt x="561975" y="940329"/>
                  </a:cubicBezTo>
                  <a:cubicBezTo>
                    <a:pt x="563870" y="945382"/>
                    <a:pt x="564329" y="950870"/>
                    <a:pt x="565150" y="956204"/>
                  </a:cubicBezTo>
                  <a:cubicBezTo>
                    <a:pt x="566447" y="964637"/>
                    <a:pt x="564860" y="973807"/>
                    <a:pt x="568325" y="981604"/>
                  </a:cubicBezTo>
                  <a:cubicBezTo>
                    <a:pt x="569684" y="984662"/>
                    <a:pt x="574675" y="983721"/>
                    <a:pt x="577850" y="984779"/>
                  </a:cubicBezTo>
                  <a:cubicBezTo>
                    <a:pt x="583142" y="983721"/>
                    <a:pt x="588812" y="983837"/>
                    <a:pt x="593725" y="981604"/>
                  </a:cubicBezTo>
                  <a:cubicBezTo>
                    <a:pt x="600673" y="978446"/>
                    <a:pt x="612775" y="968904"/>
                    <a:pt x="612775" y="968904"/>
                  </a:cubicBezTo>
                  <a:cubicBezTo>
                    <a:pt x="614892" y="965729"/>
                    <a:pt x="617575" y="962866"/>
                    <a:pt x="619125" y="959379"/>
                  </a:cubicBezTo>
                  <a:cubicBezTo>
                    <a:pt x="621843" y="953262"/>
                    <a:pt x="625475" y="940329"/>
                    <a:pt x="625475" y="940329"/>
                  </a:cubicBezTo>
                  <a:cubicBezTo>
                    <a:pt x="623591" y="930911"/>
                    <a:pt x="620141" y="914544"/>
                    <a:pt x="619125" y="905404"/>
                  </a:cubicBezTo>
                  <a:cubicBezTo>
                    <a:pt x="617718" y="892738"/>
                    <a:pt x="618299" y="879830"/>
                    <a:pt x="615950" y="867304"/>
                  </a:cubicBezTo>
                  <a:cubicBezTo>
                    <a:pt x="615078" y="862652"/>
                    <a:pt x="612035" y="858663"/>
                    <a:pt x="609600" y="854604"/>
                  </a:cubicBezTo>
                  <a:cubicBezTo>
                    <a:pt x="605673" y="848060"/>
                    <a:pt x="596900" y="835554"/>
                    <a:pt x="596900" y="835554"/>
                  </a:cubicBezTo>
                  <a:cubicBezTo>
                    <a:pt x="599017" y="832379"/>
                    <a:pt x="600014" y="828051"/>
                    <a:pt x="603250" y="826029"/>
                  </a:cubicBezTo>
                  <a:cubicBezTo>
                    <a:pt x="608926" y="822481"/>
                    <a:pt x="615950" y="821796"/>
                    <a:pt x="622300" y="819679"/>
                  </a:cubicBezTo>
                  <a:lnTo>
                    <a:pt x="631825" y="816504"/>
                  </a:lnTo>
                  <a:cubicBezTo>
                    <a:pt x="635965" y="815124"/>
                    <a:pt x="640329" y="814528"/>
                    <a:pt x="644525" y="813329"/>
                  </a:cubicBezTo>
                  <a:cubicBezTo>
                    <a:pt x="647743" y="812410"/>
                    <a:pt x="650875" y="811212"/>
                    <a:pt x="654050" y="810154"/>
                  </a:cubicBezTo>
                  <a:cubicBezTo>
                    <a:pt x="666203" y="802052"/>
                    <a:pt x="666855" y="798559"/>
                    <a:pt x="685800" y="806979"/>
                  </a:cubicBezTo>
                  <a:cubicBezTo>
                    <a:pt x="689287" y="808529"/>
                    <a:pt x="690033" y="813329"/>
                    <a:pt x="692150" y="816504"/>
                  </a:cubicBezTo>
                  <a:cubicBezTo>
                    <a:pt x="691210" y="823081"/>
                    <a:pt x="685497" y="843112"/>
                    <a:pt x="692150" y="851429"/>
                  </a:cubicBezTo>
                  <a:cubicBezTo>
                    <a:pt x="694241" y="854042"/>
                    <a:pt x="698500" y="853546"/>
                    <a:pt x="701675" y="854604"/>
                  </a:cubicBezTo>
                  <a:cubicBezTo>
                    <a:pt x="705908" y="857779"/>
                    <a:pt x="710633" y="860387"/>
                    <a:pt x="714375" y="864129"/>
                  </a:cubicBezTo>
                  <a:cubicBezTo>
                    <a:pt x="723474" y="873228"/>
                    <a:pt x="718735" y="872850"/>
                    <a:pt x="723900" y="883179"/>
                  </a:cubicBezTo>
                  <a:cubicBezTo>
                    <a:pt x="729192" y="893762"/>
                    <a:pt x="730250" y="892704"/>
                    <a:pt x="739775" y="899054"/>
                  </a:cubicBezTo>
                  <a:cubicBezTo>
                    <a:pt x="744008" y="897996"/>
                    <a:pt x="748686" y="898044"/>
                    <a:pt x="752475" y="895879"/>
                  </a:cubicBezTo>
                  <a:cubicBezTo>
                    <a:pt x="756374" y="893651"/>
                    <a:pt x="757524" y="886712"/>
                    <a:pt x="762000" y="886354"/>
                  </a:cubicBezTo>
                  <a:cubicBezTo>
                    <a:pt x="785233" y="884495"/>
                    <a:pt x="808567" y="888471"/>
                    <a:pt x="831850" y="889529"/>
                  </a:cubicBezTo>
                  <a:cubicBezTo>
                    <a:pt x="847725" y="888471"/>
                    <a:pt x="863781" y="888970"/>
                    <a:pt x="879475" y="886354"/>
                  </a:cubicBezTo>
                  <a:cubicBezTo>
                    <a:pt x="894421" y="883863"/>
                    <a:pt x="886028" y="876525"/>
                    <a:pt x="892175" y="867304"/>
                  </a:cubicBezTo>
                  <a:cubicBezTo>
                    <a:pt x="895692" y="862028"/>
                    <a:pt x="905792" y="859590"/>
                    <a:pt x="911225" y="857779"/>
                  </a:cubicBezTo>
                  <a:cubicBezTo>
                    <a:pt x="914400" y="855662"/>
                    <a:pt x="918857" y="854742"/>
                    <a:pt x="920750" y="851429"/>
                  </a:cubicBezTo>
                  <a:cubicBezTo>
                    <a:pt x="923427" y="846744"/>
                    <a:pt x="923925" y="840950"/>
                    <a:pt x="923925" y="835554"/>
                  </a:cubicBezTo>
                  <a:cubicBezTo>
                    <a:pt x="923925" y="822324"/>
                    <a:pt x="922067" y="816180"/>
                    <a:pt x="914400" y="806979"/>
                  </a:cubicBezTo>
                  <a:cubicBezTo>
                    <a:pt x="911525" y="803530"/>
                    <a:pt x="908891" y="799462"/>
                    <a:pt x="904875" y="797454"/>
                  </a:cubicBezTo>
                  <a:cubicBezTo>
                    <a:pt x="900048" y="795041"/>
                    <a:pt x="894292" y="795337"/>
                    <a:pt x="889000" y="794279"/>
                  </a:cubicBezTo>
                  <a:cubicBezTo>
                    <a:pt x="885825" y="791104"/>
                    <a:pt x="880564" y="789110"/>
                    <a:pt x="879475" y="784754"/>
                  </a:cubicBezTo>
                  <a:cubicBezTo>
                    <a:pt x="877370" y="776335"/>
                    <a:pt x="883919" y="765451"/>
                    <a:pt x="889000" y="759354"/>
                  </a:cubicBezTo>
                  <a:cubicBezTo>
                    <a:pt x="891875" y="755905"/>
                    <a:pt x="895650" y="753278"/>
                    <a:pt x="898525" y="749829"/>
                  </a:cubicBezTo>
                  <a:cubicBezTo>
                    <a:pt x="900968" y="746898"/>
                    <a:pt x="902003" y="742817"/>
                    <a:pt x="904875" y="740304"/>
                  </a:cubicBezTo>
                  <a:cubicBezTo>
                    <a:pt x="910618" y="735278"/>
                    <a:pt x="917575" y="731837"/>
                    <a:pt x="923925" y="727604"/>
                  </a:cubicBezTo>
                  <a:cubicBezTo>
                    <a:pt x="936235" y="719398"/>
                    <a:pt x="929830" y="722461"/>
                    <a:pt x="942975" y="718079"/>
                  </a:cubicBezTo>
                  <a:cubicBezTo>
                    <a:pt x="946150" y="720196"/>
                    <a:pt x="950116" y="721449"/>
                    <a:pt x="952500" y="724429"/>
                  </a:cubicBezTo>
                  <a:cubicBezTo>
                    <a:pt x="954591" y="727042"/>
                    <a:pt x="955076" y="730661"/>
                    <a:pt x="955675" y="733954"/>
                  </a:cubicBezTo>
                  <a:cubicBezTo>
                    <a:pt x="957201" y="742349"/>
                    <a:pt x="955681" y="751432"/>
                    <a:pt x="958850" y="759354"/>
                  </a:cubicBezTo>
                  <a:cubicBezTo>
                    <a:pt x="960744" y="764088"/>
                    <a:pt x="973890" y="767542"/>
                    <a:pt x="977900" y="768879"/>
                  </a:cubicBezTo>
                  <a:cubicBezTo>
                    <a:pt x="991047" y="767001"/>
                    <a:pt x="1003300" y="772012"/>
                    <a:pt x="1003300" y="756179"/>
                  </a:cubicBezTo>
                  <a:cubicBezTo>
                    <a:pt x="1003300" y="752832"/>
                    <a:pt x="1001183" y="749829"/>
                    <a:pt x="1000125" y="746654"/>
                  </a:cubicBezTo>
                  <a:cubicBezTo>
                    <a:pt x="1001183" y="743479"/>
                    <a:pt x="1001209" y="739742"/>
                    <a:pt x="1003300" y="737129"/>
                  </a:cubicBezTo>
                  <a:cubicBezTo>
                    <a:pt x="1005684" y="734149"/>
                    <a:pt x="1009338" y="732329"/>
                    <a:pt x="1012825" y="730779"/>
                  </a:cubicBezTo>
                  <a:lnTo>
                    <a:pt x="1041400" y="721254"/>
                  </a:lnTo>
                  <a:lnTo>
                    <a:pt x="1050925" y="718079"/>
                  </a:lnTo>
                  <a:lnTo>
                    <a:pt x="1060450" y="714904"/>
                  </a:lnTo>
                  <a:cubicBezTo>
                    <a:pt x="1063625" y="712787"/>
                    <a:pt x="1067277" y="711252"/>
                    <a:pt x="1069975" y="708554"/>
                  </a:cubicBezTo>
                  <a:cubicBezTo>
                    <a:pt x="1076130" y="702399"/>
                    <a:pt x="1076918" y="697251"/>
                    <a:pt x="1079500" y="689504"/>
                  </a:cubicBezTo>
                  <a:cubicBezTo>
                    <a:pt x="1077383" y="686329"/>
                    <a:pt x="1075593" y="682910"/>
                    <a:pt x="1073150" y="679979"/>
                  </a:cubicBezTo>
                  <a:cubicBezTo>
                    <a:pt x="1065510" y="670812"/>
                    <a:pt x="1063466" y="670348"/>
                    <a:pt x="1054100" y="664104"/>
                  </a:cubicBezTo>
                  <a:cubicBezTo>
                    <a:pt x="1051983" y="660929"/>
                    <a:pt x="1049457" y="657992"/>
                    <a:pt x="1047750" y="654579"/>
                  </a:cubicBezTo>
                  <a:cubicBezTo>
                    <a:pt x="1046253" y="651586"/>
                    <a:pt x="1046235" y="647960"/>
                    <a:pt x="1044575" y="645054"/>
                  </a:cubicBezTo>
                  <a:cubicBezTo>
                    <a:pt x="1041950" y="640460"/>
                    <a:pt x="1038225" y="636587"/>
                    <a:pt x="1035050" y="632354"/>
                  </a:cubicBezTo>
                  <a:cubicBezTo>
                    <a:pt x="1036056" y="623300"/>
                    <a:pt x="1036081" y="604892"/>
                    <a:pt x="1041400" y="594254"/>
                  </a:cubicBezTo>
                  <a:cubicBezTo>
                    <a:pt x="1043107" y="590841"/>
                    <a:pt x="1044514" y="586751"/>
                    <a:pt x="1047750" y="584729"/>
                  </a:cubicBezTo>
                  <a:cubicBezTo>
                    <a:pt x="1053426" y="581181"/>
                    <a:pt x="1066800" y="578379"/>
                    <a:pt x="1066800" y="578379"/>
                  </a:cubicBezTo>
                  <a:cubicBezTo>
                    <a:pt x="1081769" y="580874"/>
                    <a:pt x="1085288" y="584063"/>
                    <a:pt x="1098550" y="578379"/>
                  </a:cubicBezTo>
                  <a:cubicBezTo>
                    <a:pt x="1102057" y="576876"/>
                    <a:pt x="1104900" y="574146"/>
                    <a:pt x="1108075" y="572029"/>
                  </a:cubicBezTo>
                  <a:cubicBezTo>
                    <a:pt x="1110192" y="568854"/>
                    <a:pt x="1111089" y="564357"/>
                    <a:pt x="1114425" y="562504"/>
                  </a:cubicBezTo>
                  <a:cubicBezTo>
                    <a:pt x="1147717" y="544008"/>
                    <a:pt x="1128712" y="568061"/>
                    <a:pt x="1143000" y="546629"/>
                  </a:cubicBezTo>
                  <a:cubicBezTo>
                    <a:pt x="1144058" y="542396"/>
                    <a:pt x="1143449" y="537336"/>
                    <a:pt x="1146175" y="533929"/>
                  </a:cubicBezTo>
                  <a:cubicBezTo>
                    <a:pt x="1148266" y="531316"/>
                    <a:pt x="1152707" y="532251"/>
                    <a:pt x="1155700" y="530754"/>
                  </a:cubicBezTo>
                  <a:cubicBezTo>
                    <a:pt x="1183880" y="516664"/>
                    <a:pt x="1134533" y="526962"/>
                    <a:pt x="1203325" y="521229"/>
                  </a:cubicBezTo>
                  <a:cubicBezTo>
                    <a:pt x="1206500" y="520171"/>
                    <a:pt x="1210483" y="520421"/>
                    <a:pt x="1212850" y="518054"/>
                  </a:cubicBezTo>
                  <a:cubicBezTo>
                    <a:pt x="1214368" y="516536"/>
                    <a:pt x="1219173" y="495939"/>
                    <a:pt x="1219200" y="495829"/>
                  </a:cubicBezTo>
                  <a:cubicBezTo>
                    <a:pt x="1214174" y="475725"/>
                    <a:pt x="1218446" y="486760"/>
                    <a:pt x="1203325" y="464079"/>
                  </a:cubicBezTo>
                  <a:cubicBezTo>
                    <a:pt x="1199612" y="458510"/>
                    <a:pt x="1190625" y="459846"/>
                    <a:pt x="1184275" y="457729"/>
                  </a:cubicBezTo>
                  <a:lnTo>
                    <a:pt x="1174750" y="454554"/>
                  </a:lnTo>
                  <a:cubicBezTo>
                    <a:pt x="1171575" y="452437"/>
                    <a:pt x="1167609" y="451184"/>
                    <a:pt x="1165225" y="448204"/>
                  </a:cubicBezTo>
                  <a:cubicBezTo>
                    <a:pt x="1163134" y="445591"/>
                    <a:pt x="1163547" y="441672"/>
                    <a:pt x="1162050" y="438679"/>
                  </a:cubicBezTo>
                  <a:cubicBezTo>
                    <a:pt x="1160343" y="435266"/>
                    <a:pt x="1157817" y="432329"/>
                    <a:pt x="1155700" y="429154"/>
                  </a:cubicBezTo>
                  <a:cubicBezTo>
                    <a:pt x="1154642" y="422804"/>
                    <a:pt x="1154561" y="416211"/>
                    <a:pt x="1152525" y="410104"/>
                  </a:cubicBezTo>
                  <a:cubicBezTo>
                    <a:pt x="1150173" y="403048"/>
                    <a:pt x="1143235" y="397051"/>
                    <a:pt x="1136650" y="394229"/>
                  </a:cubicBezTo>
                  <a:cubicBezTo>
                    <a:pt x="1132639" y="392510"/>
                    <a:pt x="1128243" y="391835"/>
                    <a:pt x="1123950" y="391054"/>
                  </a:cubicBezTo>
                  <a:cubicBezTo>
                    <a:pt x="1116587" y="389715"/>
                    <a:pt x="1109167" y="388662"/>
                    <a:pt x="1101725" y="387879"/>
                  </a:cubicBezTo>
                  <a:cubicBezTo>
                    <a:pt x="1089051" y="386545"/>
                    <a:pt x="1076325" y="385762"/>
                    <a:pt x="1063625" y="384704"/>
                  </a:cubicBezTo>
                  <a:cubicBezTo>
                    <a:pt x="1048020" y="395107"/>
                    <a:pt x="1051347" y="388788"/>
                    <a:pt x="1057275" y="416454"/>
                  </a:cubicBezTo>
                  <a:cubicBezTo>
                    <a:pt x="1058677" y="422999"/>
                    <a:pt x="1061508" y="429154"/>
                    <a:pt x="1063625" y="435504"/>
                  </a:cubicBezTo>
                  <a:lnTo>
                    <a:pt x="1066800" y="445029"/>
                  </a:lnTo>
                  <a:cubicBezTo>
                    <a:pt x="1062312" y="467468"/>
                    <a:pt x="1065332" y="455784"/>
                    <a:pt x="1057275" y="479954"/>
                  </a:cubicBezTo>
                  <a:lnTo>
                    <a:pt x="1057275" y="479954"/>
                  </a:lnTo>
                  <a:cubicBezTo>
                    <a:pt x="1056217" y="484187"/>
                    <a:pt x="1056521" y="489023"/>
                    <a:pt x="1054100" y="492654"/>
                  </a:cubicBezTo>
                  <a:cubicBezTo>
                    <a:pt x="1051983" y="495829"/>
                    <a:pt x="1047750" y="496887"/>
                    <a:pt x="1044575" y="499004"/>
                  </a:cubicBezTo>
                  <a:cubicBezTo>
                    <a:pt x="1039283" y="497946"/>
                    <a:pt x="1033613" y="498062"/>
                    <a:pt x="1028700" y="495829"/>
                  </a:cubicBezTo>
                  <a:cubicBezTo>
                    <a:pt x="1021752" y="492671"/>
                    <a:pt x="1009650" y="483129"/>
                    <a:pt x="1009650" y="483129"/>
                  </a:cubicBezTo>
                  <a:cubicBezTo>
                    <a:pt x="994994" y="486060"/>
                    <a:pt x="980284" y="489479"/>
                    <a:pt x="965200" y="489479"/>
                  </a:cubicBezTo>
                  <a:cubicBezTo>
                    <a:pt x="956667" y="489479"/>
                    <a:pt x="948267" y="487362"/>
                    <a:pt x="939800" y="486304"/>
                  </a:cubicBezTo>
                  <a:cubicBezTo>
                    <a:pt x="914400" y="469371"/>
                    <a:pt x="945092" y="491596"/>
                    <a:pt x="923925" y="470429"/>
                  </a:cubicBezTo>
                  <a:cubicBezTo>
                    <a:pt x="921227" y="467731"/>
                    <a:pt x="917575" y="466196"/>
                    <a:pt x="914400" y="464079"/>
                  </a:cubicBezTo>
                  <a:cubicBezTo>
                    <a:pt x="913346" y="460918"/>
                    <a:pt x="908056" y="439476"/>
                    <a:pt x="901700" y="435504"/>
                  </a:cubicBezTo>
                  <a:cubicBezTo>
                    <a:pt x="882406" y="423445"/>
                    <a:pt x="826449" y="426344"/>
                    <a:pt x="819150" y="425979"/>
                  </a:cubicBezTo>
                  <a:cubicBezTo>
                    <a:pt x="815975" y="424921"/>
                    <a:pt x="812551" y="424429"/>
                    <a:pt x="809625" y="422804"/>
                  </a:cubicBezTo>
                  <a:cubicBezTo>
                    <a:pt x="776873" y="404608"/>
                    <a:pt x="802603" y="414113"/>
                    <a:pt x="781050" y="406929"/>
                  </a:cubicBezTo>
                  <a:cubicBezTo>
                    <a:pt x="774507" y="402567"/>
                    <a:pt x="762534" y="392172"/>
                    <a:pt x="752475" y="391054"/>
                  </a:cubicBezTo>
                  <a:cubicBezTo>
                    <a:pt x="736662" y="389297"/>
                    <a:pt x="720725" y="388937"/>
                    <a:pt x="704850" y="387879"/>
                  </a:cubicBezTo>
                  <a:cubicBezTo>
                    <a:pt x="701675" y="386821"/>
                    <a:pt x="697938" y="386795"/>
                    <a:pt x="695325" y="384704"/>
                  </a:cubicBezTo>
                  <a:cubicBezTo>
                    <a:pt x="692345" y="382320"/>
                    <a:pt x="690525" y="378666"/>
                    <a:pt x="688975" y="375179"/>
                  </a:cubicBezTo>
                  <a:cubicBezTo>
                    <a:pt x="684534" y="365187"/>
                    <a:pt x="681023" y="351262"/>
                    <a:pt x="679450" y="340254"/>
                  </a:cubicBezTo>
                  <a:cubicBezTo>
                    <a:pt x="678095" y="330767"/>
                    <a:pt x="679306" y="320771"/>
                    <a:pt x="676275" y="311679"/>
                  </a:cubicBezTo>
                  <a:cubicBezTo>
                    <a:pt x="672836" y="301361"/>
                    <a:pt x="662193" y="301015"/>
                    <a:pt x="654050" y="298979"/>
                  </a:cubicBezTo>
                  <a:cubicBezTo>
                    <a:pt x="660400" y="294746"/>
                    <a:pt x="670687" y="293519"/>
                    <a:pt x="673100" y="286279"/>
                  </a:cubicBezTo>
                  <a:cubicBezTo>
                    <a:pt x="681157" y="262109"/>
                    <a:pt x="678137" y="273793"/>
                    <a:pt x="682625" y="251354"/>
                  </a:cubicBezTo>
                  <a:cubicBezTo>
                    <a:pt x="681567" y="242887"/>
                    <a:pt x="681695" y="234186"/>
                    <a:pt x="679450" y="225954"/>
                  </a:cubicBezTo>
                  <a:cubicBezTo>
                    <a:pt x="676711" y="215910"/>
                    <a:pt x="670548" y="215889"/>
                    <a:pt x="663575" y="210079"/>
                  </a:cubicBezTo>
                  <a:cubicBezTo>
                    <a:pt x="633732" y="185210"/>
                    <a:pt x="683148" y="219952"/>
                    <a:pt x="635000" y="187854"/>
                  </a:cubicBezTo>
                  <a:lnTo>
                    <a:pt x="625475" y="181504"/>
                  </a:lnTo>
                  <a:cubicBezTo>
                    <a:pt x="622690" y="179648"/>
                    <a:pt x="619274" y="178720"/>
                    <a:pt x="615950" y="178329"/>
                  </a:cubicBezTo>
                  <a:cubicBezTo>
                    <a:pt x="601197" y="176593"/>
                    <a:pt x="586307" y="176339"/>
                    <a:pt x="571500" y="175154"/>
                  </a:cubicBezTo>
                  <a:cubicBezTo>
                    <a:pt x="559848" y="174222"/>
                    <a:pt x="548207" y="173142"/>
                    <a:pt x="536575" y="171979"/>
                  </a:cubicBezTo>
                  <a:cubicBezTo>
                    <a:pt x="524792" y="170801"/>
                    <a:pt x="498567" y="167955"/>
                    <a:pt x="485775" y="165629"/>
                  </a:cubicBezTo>
                  <a:cubicBezTo>
                    <a:pt x="481482" y="164848"/>
                    <a:pt x="477308" y="163512"/>
                    <a:pt x="473075" y="162454"/>
                  </a:cubicBezTo>
                  <a:cubicBezTo>
                    <a:pt x="469900" y="159279"/>
                    <a:pt x="466041" y="156665"/>
                    <a:pt x="463550" y="152929"/>
                  </a:cubicBezTo>
                  <a:cubicBezTo>
                    <a:pt x="461694" y="150144"/>
                    <a:pt x="461101" y="146671"/>
                    <a:pt x="460375" y="143404"/>
                  </a:cubicBezTo>
                  <a:cubicBezTo>
                    <a:pt x="457994" y="132692"/>
                    <a:pt x="457266" y="114927"/>
                    <a:pt x="450850" y="105304"/>
                  </a:cubicBezTo>
                  <a:cubicBezTo>
                    <a:pt x="442009" y="92043"/>
                    <a:pt x="447198" y="98477"/>
                    <a:pt x="434975" y="86254"/>
                  </a:cubicBezTo>
                  <a:cubicBezTo>
                    <a:pt x="432478" y="58790"/>
                    <a:pt x="434234" y="58262"/>
                    <a:pt x="428625" y="38629"/>
                  </a:cubicBezTo>
                  <a:cubicBezTo>
                    <a:pt x="427706" y="35411"/>
                    <a:pt x="427541" y="31717"/>
                    <a:pt x="425450" y="29104"/>
                  </a:cubicBezTo>
                  <a:cubicBezTo>
                    <a:pt x="420144" y="22472"/>
                    <a:pt x="413402" y="22580"/>
                    <a:pt x="406400" y="19579"/>
                  </a:cubicBezTo>
                  <a:cubicBezTo>
                    <a:pt x="397364" y="15707"/>
                    <a:pt x="393482" y="11915"/>
                    <a:pt x="384175" y="10054"/>
                  </a:cubicBezTo>
                  <a:cubicBezTo>
                    <a:pt x="376837" y="8586"/>
                    <a:pt x="369358" y="7937"/>
                    <a:pt x="361950" y="6879"/>
                  </a:cubicBezTo>
                  <a:cubicBezTo>
                    <a:pt x="355600" y="7937"/>
                    <a:pt x="348489" y="6860"/>
                    <a:pt x="342900" y="10054"/>
                  </a:cubicBezTo>
                  <a:cubicBezTo>
                    <a:pt x="339994" y="11714"/>
                    <a:pt x="340028" y="16246"/>
                    <a:pt x="339725" y="19579"/>
                  </a:cubicBezTo>
                  <a:cubicBezTo>
                    <a:pt x="338958" y="28011"/>
                    <a:pt x="343958" y="0"/>
                    <a:pt x="342900" y="6879"/>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5" name="Freeform 24"/>
            <p:cNvSpPr/>
            <p:nvPr>
              <p:custDataLst>
                <p:tags r:id="rId13"/>
              </p:custDataLst>
            </p:nvPr>
          </p:nvSpPr>
          <p:spPr bwMode="gray">
            <a:xfrm>
              <a:off x="3948299" y="4113853"/>
              <a:ext cx="2241550" cy="2325047"/>
            </a:xfrm>
            <a:custGeom>
              <a:avLst/>
              <a:gdLst>
                <a:gd name="connsiteX0" fmla="*/ 44450 w 2241550"/>
                <a:gd name="connsiteY0" fmla="*/ 674047 h 2325047"/>
                <a:gd name="connsiteX1" fmla="*/ 120650 w 2241550"/>
                <a:gd name="connsiteY1" fmla="*/ 667697 h 2325047"/>
                <a:gd name="connsiteX2" fmla="*/ 127000 w 2241550"/>
                <a:gd name="connsiteY2" fmla="*/ 642297 h 2325047"/>
                <a:gd name="connsiteX3" fmla="*/ 146050 w 2241550"/>
                <a:gd name="connsiteY3" fmla="*/ 635947 h 2325047"/>
                <a:gd name="connsiteX4" fmla="*/ 171450 w 2241550"/>
                <a:gd name="connsiteY4" fmla="*/ 642297 h 2325047"/>
                <a:gd name="connsiteX5" fmla="*/ 177800 w 2241550"/>
                <a:gd name="connsiteY5" fmla="*/ 623247 h 2325047"/>
                <a:gd name="connsiteX6" fmla="*/ 165100 w 2241550"/>
                <a:gd name="connsiteY6" fmla="*/ 604197 h 2325047"/>
                <a:gd name="connsiteX7" fmla="*/ 139700 w 2241550"/>
                <a:gd name="connsiteY7" fmla="*/ 566097 h 2325047"/>
                <a:gd name="connsiteX8" fmla="*/ 184150 w 2241550"/>
                <a:gd name="connsiteY8" fmla="*/ 547047 h 2325047"/>
                <a:gd name="connsiteX9" fmla="*/ 203200 w 2241550"/>
                <a:gd name="connsiteY9" fmla="*/ 553397 h 2325047"/>
                <a:gd name="connsiteX10" fmla="*/ 222250 w 2241550"/>
                <a:gd name="connsiteY10" fmla="*/ 566097 h 2325047"/>
                <a:gd name="connsiteX11" fmla="*/ 241300 w 2241550"/>
                <a:gd name="connsiteY11" fmla="*/ 553397 h 2325047"/>
                <a:gd name="connsiteX12" fmla="*/ 279400 w 2241550"/>
                <a:gd name="connsiteY12" fmla="*/ 547047 h 2325047"/>
                <a:gd name="connsiteX13" fmla="*/ 292100 w 2241550"/>
                <a:gd name="connsiteY13" fmla="*/ 566097 h 2325047"/>
                <a:gd name="connsiteX14" fmla="*/ 298450 w 2241550"/>
                <a:gd name="connsiteY14" fmla="*/ 604197 h 2325047"/>
                <a:gd name="connsiteX15" fmla="*/ 361950 w 2241550"/>
                <a:gd name="connsiteY15" fmla="*/ 591497 h 2325047"/>
                <a:gd name="connsiteX16" fmla="*/ 381000 w 2241550"/>
                <a:gd name="connsiteY16" fmla="*/ 597847 h 2325047"/>
                <a:gd name="connsiteX17" fmla="*/ 393700 w 2241550"/>
                <a:gd name="connsiteY17" fmla="*/ 635947 h 2325047"/>
                <a:gd name="connsiteX18" fmla="*/ 406400 w 2241550"/>
                <a:gd name="connsiteY18" fmla="*/ 654997 h 2325047"/>
                <a:gd name="connsiteX19" fmla="*/ 412750 w 2241550"/>
                <a:gd name="connsiteY19" fmla="*/ 705797 h 2325047"/>
                <a:gd name="connsiteX20" fmla="*/ 431800 w 2241550"/>
                <a:gd name="connsiteY20" fmla="*/ 750247 h 2325047"/>
                <a:gd name="connsiteX21" fmla="*/ 450850 w 2241550"/>
                <a:gd name="connsiteY21" fmla="*/ 762947 h 2325047"/>
                <a:gd name="connsiteX22" fmla="*/ 508000 w 2241550"/>
                <a:gd name="connsiteY22" fmla="*/ 743897 h 2325047"/>
                <a:gd name="connsiteX23" fmla="*/ 527050 w 2241550"/>
                <a:gd name="connsiteY23" fmla="*/ 921697 h 2325047"/>
                <a:gd name="connsiteX24" fmla="*/ 558800 w 2241550"/>
                <a:gd name="connsiteY24" fmla="*/ 978847 h 2325047"/>
                <a:gd name="connsiteX25" fmla="*/ 577850 w 2241550"/>
                <a:gd name="connsiteY25" fmla="*/ 1016947 h 2325047"/>
                <a:gd name="connsiteX26" fmla="*/ 603250 w 2241550"/>
                <a:gd name="connsiteY26" fmla="*/ 1061397 h 2325047"/>
                <a:gd name="connsiteX27" fmla="*/ 622300 w 2241550"/>
                <a:gd name="connsiteY27" fmla="*/ 1099497 h 2325047"/>
                <a:gd name="connsiteX28" fmla="*/ 641350 w 2241550"/>
                <a:gd name="connsiteY28" fmla="*/ 1112197 h 2325047"/>
                <a:gd name="connsiteX29" fmla="*/ 654050 w 2241550"/>
                <a:gd name="connsiteY29" fmla="*/ 1131247 h 2325047"/>
                <a:gd name="connsiteX30" fmla="*/ 666750 w 2241550"/>
                <a:gd name="connsiteY30" fmla="*/ 1207447 h 2325047"/>
                <a:gd name="connsiteX31" fmla="*/ 673100 w 2241550"/>
                <a:gd name="connsiteY31" fmla="*/ 1251897 h 2325047"/>
                <a:gd name="connsiteX32" fmla="*/ 698500 w 2241550"/>
                <a:gd name="connsiteY32" fmla="*/ 1309047 h 2325047"/>
                <a:gd name="connsiteX33" fmla="*/ 679450 w 2241550"/>
                <a:gd name="connsiteY33" fmla="*/ 1321747 h 2325047"/>
                <a:gd name="connsiteX34" fmla="*/ 641350 w 2241550"/>
                <a:gd name="connsiteY34" fmla="*/ 1334447 h 2325047"/>
                <a:gd name="connsiteX35" fmla="*/ 584200 w 2241550"/>
                <a:gd name="connsiteY35" fmla="*/ 1328097 h 2325047"/>
                <a:gd name="connsiteX36" fmla="*/ 577850 w 2241550"/>
                <a:gd name="connsiteY36" fmla="*/ 1347147 h 2325047"/>
                <a:gd name="connsiteX37" fmla="*/ 596900 w 2241550"/>
                <a:gd name="connsiteY37" fmla="*/ 1404297 h 2325047"/>
                <a:gd name="connsiteX38" fmla="*/ 603250 w 2241550"/>
                <a:gd name="connsiteY38" fmla="*/ 1423347 h 2325047"/>
                <a:gd name="connsiteX39" fmla="*/ 590550 w 2241550"/>
                <a:gd name="connsiteY39" fmla="*/ 1442397 h 2325047"/>
                <a:gd name="connsiteX40" fmla="*/ 565150 w 2241550"/>
                <a:gd name="connsiteY40" fmla="*/ 1448747 h 2325047"/>
                <a:gd name="connsiteX41" fmla="*/ 527050 w 2241550"/>
                <a:gd name="connsiteY41" fmla="*/ 1461447 h 2325047"/>
                <a:gd name="connsiteX42" fmla="*/ 508000 w 2241550"/>
                <a:gd name="connsiteY42" fmla="*/ 1467797 h 2325047"/>
                <a:gd name="connsiteX43" fmla="*/ 488950 w 2241550"/>
                <a:gd name="connsiteY43" fmla="*/ 1474147 h 2325047"/>
                <a:gd name="connsiteX44" fmla="*/ 476250 w 2241550"/>
                <a:gd name="connsiteY44" fmla="*/ 1493197 h 2325047"/>
                <a:gd name="connsiteX45" fmla="*/ 463550 w 2241550"/>
                <a:gd name="connsiteY45" fmla="*/ 1543997 h 2325047"/>
                <a:gd name="connsiteX46" fmla="*/ 469900 w 2241550"/>
                <a:gd name="connsiteY46" fmla="*/ 1569397 h 2325047"/>
                <a:gd name="connsiteX47" fmla="*/ 476250 w 2241550"/>
                <a:gd name="connsiteY47" fmla="*/ 1588447 h 2325047"/>
                <a:gd name="connsiteX48" fmla="*/ 488950 w 2241550"/>
                <a:gd name="connsiteY48" fmla="*/ 1639247 h 2325047"/>
                <a:gd name="connsiteX49" fmla="*/ 495300 w 2241550"/>
                <a:gd name="connsiteY49" fmla="*/ 1658297 h 2325047"/>
                <a:gd name="connsiteX50" fmla="*/ 508000 w 2241550"/>
                <a:gd name="connsiteY50" fmla="*/ 1709097 h 2325047"/>
                <a:gd name="connsiteX51" fmla="*/ 514350 w 2241550"/>
                <a:gd name="connsiteY51" fmla="*/ 1728147 h 2325047"/>
                <a:gd name="connsiteX52" fmla="*/ 527050 w 2241550"/>
                <a:gd name="connsiteY52" fmla="*/ 1747197 h 2325047"/>
                <a:gd name="connsiteX53" fmla="*/ 520700 w 2241550"/>
                <a:gd name="connsiteY53" fmla="*/ 1785297 h 2325047"/>
                <a:gd name="connsiteX54" fmla="*/ 514350 w 2241550"/>
                <a:gd name="connsiteY54" fmla="*/ 1804347 h 2325047"/>
                <a:gd name="connsiteX55" fmla="*/ 508000 w 2241550"/>
                <a:gd name="connsiteY55" fmla="*/ 1829747 h 2325047"/>
                <a:gd name="connsiteX56" fmla="*/ 501650 w 2241550"/>
                <a:gd name="connsiteY56" fmla="*/ 2001197 h 2325047"/>
                <a:gd name="connsiteX57" fmla="*/ 488950 w 2241550"/>
                <a:gd name="connsiteY57" fmla="*/ 2020247 h 2325047"/>
                <a:gd name="connsiteX58" fmla="*/ 482600 w 2241550"/>
                <a:gd name="connsiteY58" fmla="*/ 2039297 h 2325047"/>
                <a:gd name="connsiteX59" fmla="*/ 368300 w 2241550"/>
                <a:gd name="connsiteY59" fmla="*/ 2058347 h 2325047"/>
                <a:gd name="connsiteX60" fmla="*/ 349250 w 2241550"/>
                <a:gd name="connsiteY60" fmla="*/ 2064697 h 2325047"/>
                <a:gd name="connsiteX61" fmla="*/ 311150 w 2241550"/>
                <a:gd name="connsiteY61" fmla="*/ 2083747 h 2325047"/>
                <a:gd name="connsiteX62" fmla="*/ 279400 w 2241550"/>
                <a:gd name="connsiteY62" fmla="*/ 2115497 h 2325047"/>
                <a:gd name="connsiteX63" fmla="*/ 298450 w 2241550"/>
                <a:gd name="connsiteY63" fmla="*/ 2134547 h 2325047"/>
                <a:gd name="connsiteX64" fmla="*/ 336550 w 2241550"/>
                <a:gd name="connsiteY64" fmla="*/ 2147247 h 2325047"/>
                <a:gd name="connsiteX65" fmla="*/ 400050 w 2241550"/>
                <a:gd name="connsiteY65" fmla="*/ 2121847 h 2325047"/>
                <a:gd name="connsiteX66" fmla="*/ 419100 w 2241550"/>
                <a:gd name="connsiteY66" fmla="*/ 2134547 h 2325047"/>
                <a:gd name="connsiteX67" fmla="*/ 450850 w 2241550"/>
                <a:gd name="connsiteY67" fmla="*/ 2128197 h 2325047"/>
                <a:gd name="connsiteX68" fmla="*/ 469900 w 2241550"/>
                <a:gd name="connsiteY68" fmla="*/ 2140897 h 2325047"/>
                <a:gd name="connsiteX69" fmla="*/ 495300 w 2241550"/>
                <a:gd name="connsiteY69" fmla="*/ 2229797 h 2325047"/>
                <a:gd name="connsiteX70" fmla="*/ 520700 w 2241550"/>
                <a:gd name="connsiteY70" fmla="*/ 2236147 h 2325047"/>
                <a:gd name="connsiteX71" fmla="*/ 565150 w 2241550"/>
                <a:gd name="connsiteY71" fmla="*/ 2248847 h 2325047"/>
                <a:gd name="connsiteX72" fmla="*/ 558800 w 2241550"/>
                <a:gd name="connsiteY72" fmla="*/ 2274247 h 2325047"/>
                <a:gd name="connsiteX73" fmla="*/ 546100 w 2241550"/>
                <a:gd name="connsiteY73" fmla="*/ 2293297 h 2325047"/>
                <a:gd name="connsiteX74" fmla="*/ 552450 w 2241550"/>
                <a:gd name="connsiteY74" fmla="*/ 2325047 h 2325047"/>
                <a:gd name="connsiteX75" fmla="*/ 603250 w 2241550"/>
                <a:gd name="connsiteY75" fmla="*/ 2299647 h 2325047"/>
                <a:gd name="connsiteX76" fmla="*/ 615950 w 2241550"/>
                <a:gd name="connsiteY76" fmla="*/ 2261547 h 2325047"/>
                <a:gd name="connsiteX77" fmla="*/ 622300 w 2241550"/>
                <a:gd name="connsiteY77" fmla="*/ 2242497 h 2325047"/>
                <a:gd name="connsiteX78" fmla="*/ 635000 w 2241550"/>
                <a:gd name="connsiteY78" fmla="*/ 2223447 h 2325047"/>
                <a:gd name="connsiteX79" fmla="*/ 666750 w 2241550"/>
                <a:gd name="connsiteY79" fmla="*/ 2185347 h 2325047"/>
                <a:gd name="connsiteX80" fmla="*/ 673100 w 2241550"/>
                <a:gd name="connsiteY80" fmla="*/ 2166297 h 2325047"/>
                <a:gd name="connsiteX81" fmla="*/ 679450 w 2241550"/>
                <a:gd name="connsiteY81" fmla="*/ 2109147 h 2325047"/>
                <a:gd name="connsiteX82" fmla="*/ 711200 w 2241550"/>
                <a:gd name="connsiteY82" fmla="*/ 2115497 h 2325047"/>
                <a:gd name="connsiteX83" fmla="*/ 749300 w 2241550"/>
                <a:gd name="connsiteY83" fmla="*/ 2109147 h 2325047"/>
                <a:gd name="connsiteX84" fmla="*/ 774700 w 2241550"/>
                <a:gd name="connsiteY84" fmla="*/ 2115497 h 2325047"/>
                <a:gd name="connsiteX85" fmla="*/ 812800 w 2241550"/>
                <a:gd name="connsiteY85" fmla="*/ 2140897 h 2325047"/>
                <a:gd name="connsiteX86" fmla="*/ 857250 w 2241550"/>
                <a:gd name="connsiteY86" fmla="*/ 2134547 h 2325047"/>
                <a:gd name="connsiteX87" fmla="*/ 876300 w 2241550"/>
                <a:gd name="connsiteY87" fmla="*/ 2128197 h 2325047"/>
                <a:gd name="connsiteX88" fmla="*/ 895350 w 2241550"/>
                <a:gd name="connsiteY88" fmla="*/ 2134547 h 2325047"/>
                <a:gd name="connsiteX89" fmla="*/ 901700 w 2241550"/>
                <a:gd name="connsiteY89" fmla="*/ 2185347 h 2325047"/>
                <a:gd name="connsiteX90" fmla="*/ 920750 w 2241550"/>
                <a:gd name="connsiteY90" fmla="*/ 2204397 h 2325047"/>
                <a:gd name="connsiteX91" fmla="*/ 927100 w 2241550"/>
                <a:gd name="connsiteY91" fmla="*/ 2223447 h 2325047"/>
                <a:gd name="connsiteX92" fmla="*/ 965200 w 2241550"/>
                <a:gd name="connsiteY92" fmla="*/ 2242497 h 2325047"/>
                <a:gd name="connsiteX93" fmla="*/ 1028700 w 2241550"/>
                <a:gd name="connsiteY93" fmla="*/ 2223447 h 2325047"/>
                <a:gd name="connsiteX94" fmla="*/ 1035050 w 2241550"/>
                <a:gd name="connsiteY94" fmla="*/ 2204397 h 2325047"/>
                <a:gd name="connsiteX95" fmla="*/ 1079500 w 2241550"/>
                <a:gd name="connsiteY95" fmla="*/ 2198047 h 2325047"/>
                <a:gd name="connsiteX96" fmla="*/ 1104900 w 2241550"/>
                <a:gd name="connsiteY96" fmla="*/ 2166297 h 2325047"/>
                <a:gd name="connsiteX97" fmla="*/ 1123950 w 2241550"/>
                <a:gd name="connsiteY97" fmla="*/ 2153597 h 2325047"/>
                <a:gd name="connsiteX98" fmla="*/ 1225550 w 2241550"/>
                <a:gd name="connsiteY98" fmla="*/ 2134547 h 2325047"/>
                <a:gd name="connsiteX99" fmla="*/ 1219200 w 2241550"/>
                <a:gd name="connsiteY99" fmla="*/ 2102797 h 2325047"/>
                <a:gd name="connsiteX100" fmla="*/ 1212850 w 2241550"/>
                <a:gd name="connsiteY100" fmla="*/ 2083747 h 2325047"/>
                <a:gd name="connsiteX101" fmla="*/ 1231900 w 2241550"/>
                <a:gd name="connsiteY101" fmla="*/ 2077397 h 2325047"/>
                <a:gd name="connsiteX102" fmla="*/ 1339850 w 2241550"/>
                <a:gd name="connsiteY102" fmla="*/ 2077397 h 2325047"/>
                <a:gd name="connsiteX103" fmla="*/ 1377950 w 2241550"/>
                <a:gd name="connsiteY103" fmla="*/ 2064697 h 2325047"/>
                <a:gd name="connsiteX104" fmla="*/ 1492250 w 2241550"/>
                <a:gd name="connsiteY104" fmla="*/ 2064697 h 2325047"/>
                <a:gd name="connsiteX105" fmla="*/ 1504950 w 2241550"/>
                <a:gd name="connsiteY105" fmla="*/ 2026597 h 2325047"/>
                <a:gd name="connsiteX106" fmla="*/ 1530350 w 2241550"/>
                <a:gd name="connsiteY106" fmla="*/ 1975797 h 2325047"/>
                <a:gd name="connsiteX107" fmla="*/ 1543050 w 2241550"/>
                <a:gd name="connsiteY107" fmla="*/ 1994847 h 2325047"/>
                <a:gd name="connsiteX108" fmla="*/ 1562100 w 2241550"/>
                <a:gd name="connsiteY108" fmla="*/ 2001197 h 2325047"/>
                <a:gd name="connsiteX109" fmla="*/ 1606550 w 2241550"/>
                <a:gd name="connsiteY109" fmla="*/ 2013897 h 2325047"/>
                <a:gd name="connsiteX110" fmla="*/ 1644650 w 2241550"/>
                <a:gd name="connsiteY110" fmla="*/ 2039297 h 2325047"/>
                <a:gd name="connsiteX111" fmla="*/ 1670050 w 2241550"/>
                <a:gd name="connsiteY111" fmla="*/ 2032947 h 2325047"/>
                <a:gd name="connsiteX112" fmla="*/ 1689100 w 2241550"/>
                <a:gd name="connsiteY112" fmla="*/ 2013897 h 2325047"/>
                <a:gd name="connsiteX113" fmla="*/ 1758950 w 2241550"/>
                <a:gd name="connsiteY113" fmla="*/ 2013897 h 2325047"/>
                <a:gd name="connsiteX114" fmla="*/ 1778000 w 2241550"/>
                <a:gd name="connsiteY114" fmla="*/ 2026597 h 2325047"/>
                <a:gd name="connsiteX115" fmla="*/ 1790700 w 2241550"/>
                <a:gd name="connsiteY115" fmla="*/ 2083747 h 2325047"/>
                <a:gd name="connsiteX116" fmla="*/ 1835150 w 2241550"/>
                <a:gd name="connsiteY116" fmla="*/ 2109147 h 2325047"/>
                <a:gd name="connsiteX117" fmla="*/ 1892300 w 2241550"/>
                <a:gd name="connsiteY117" fmla="*/ 2140897 h 2325047"/>
                <a:gd name="connsiteX118" fmla="*/ 1911350 w 2241550"/>
                <a:gd name="connsiteY118" fmla="*/ 2071047 h 2325047"/>
                <a:gd name="connsiteX119" fmla="*/ 1924050 w 2241550"/>
                <a:gd name="connsiteY119" fmla="*/ 2051997 h 2325047"/>
                <a:gd name="connsiteX120" fmla="*/ 1930400 w 2241550"/>
                <a:gd name="connsiteY120" fmla="*/ 2032947 h 2325047"/>
                <a:gd name="connsiteX121" fmla="*/ 1924050 w 2241550"/>
                <a:gd name="connsiteY121" fmla="*/ 1994847 h 2325047"/>
                <a:gd name="connsiteX122" fmla="*/ 1917700 w 2241550"/>
                <a:gd name="connsiteY122" fmla="*/ 1975797 h 2325047"/>
                <a:gd name="connsiteX123" fmla="*/ 1898650 w 2241550"/>
                <a:gd name="connsiteY123" fmla="*/ 1969447 h 2325047"/>
                <a:gd name="connsiteX124" fmla="*/ 1847850 w 2241550"/>
                <a:gd name="connsiteY124" fmla="*/ 1963097 h 2325047"/>
                <a:gd name="connsiteX125" fmla="*/ 1841500 w 2241550"/>
                <a:gd name="connsiteY125" fmla="*/ 1944047 h 2325047"/>
                <a:gd name="connsiteX126" fmla="*/ 1854200 w 2241550"/>
                <a:gd name="connsiteY126" fmla="*/ 1924997 h 2325047"/>
                <a:gd name="connsiteX127" fmla="*/ 1873250 w 2241550"/>
                <a:gd name="connsiteY127" fmla="*/ 1886897 h 2325047"/>
                <a:gd name="connsiteX128" fmla="*/ 1866900 w 2241550"/>
                <a:gd name="connsiteY128" fmla="*/ 1836097 h 2325047"/>
                <a:gd name="connsiteX129" fmla="*/ 1860550 w 2241550"/>
                <a:gd name="connsiteY129" fmla="*/ 1817047 h 2325047"/>
                <a:gd name="connsiteX130" fmla="*/ 1835150 w 2241550"/>
                <a:gd name="connsiteY130" fmla="*/ 1810697 h 2325047"/>
                <a:gd name="connsiteX131" fmla="*/ 1816100 w 2241550"/>
                <a:gd name="connsiteY131" fmla="*/ 1804347 h 2325047"/>
                <a:gd name="connsiteX132" fmla="*/ 1803400 w 2241550"/>
                <a:gd name="connsiteY132" fmla="*/ 1785297 h 2325047"/>
                <a:gd name="connsiteX133" fmla="*/ 1790700 w 2241550"/>
                <a:gd name="connsiteY133" fmla="*/ 1747197 h 2325047"/>
                <a:gd name="connsiteX134" fmla="*/ 1758950 w 2241550"/>
                <a:gd name="connsiteY134" fmla="*/ 1690047 h 2325047"/>
                <a:gd name="connsiteX135" fmla="*/ 1765300 w 2241550"/>
                <a:gd name="connsiteY135" fmla="*/ 1664647 h 2325047"/>
                <a:gd name="connsiteX136" fmla="*/ 1784350 w 2241550"/>
                <a:gd name="connsiteY136" fmla="*/ 1658297 h 2325047"/>
                <a:gd name="connsiteX137" fmla="*/ 1822450 w 2241550"/>
                <a:gd name="connsiteY137" fmla="*/ 1632897 h 2325047"/>
                <a:gd name="connsiteX138" fmla="*/ 1841500 w 2241550"/>
                <a:gd name="connsiteY138" fmla="*/ 1620197 h 2325047"/>
                <a:gd name="connsiteX139" fmla="*/ 1854200 w 2241550"/>
                <a:gd name="connsiteY139" fmla="*/ 1601147 h 2325047"/>
                <a:gd name="connsiteX140" fmla="*/ 1892300 w 2241550"/>
                <a:gd name="connsiteY140" fmla="*/ 1569397 h 2325047"/>
                <a:gd name="connsiteX141" fmla="*/ 1936750 w 2241550"/>
                <a:gd name="connsiteY141" fmla="*/ 1556697 h 2325047"/>
                <a:gd name="connsiteX142" fmla="*/ 1955800 w 2241550"/>
                <a:gd name="connsiteY142" fmla="*/ 1550347 h 2325047"/>
                <a:gd name="connsiteX143" fmla="*/ 2006600 w 2241550"/>
                <a:gd name="connsiteY143" fmla="*/ 1537647 h 2325047"/>
                <a:gd name="connsiteX144" fmla="*/ 2025650 w 2241550"/>
                <a:gd name="connsiteY144" fmla="*/ 1524947 h 2325047"/>
                <a:gd name="connsiteX145" fmla="*/ 2038350 w 2241550"/>
                <a:gd name="connsiteY145" fmla="*/ 1480497 h 2325047"/>
                <a:gd name="connsiteX146" fmla="*/ 2057400 w 2241550"/>
                <a:gd name="connsiteY146" fmla="*/ 1467797 h 2325047"/>
                <a:gd name="connsiteX147" fmla="*/ 2070100 w 2241550"/>
                <a:gd name="connsiteY147" fmla="*/ 1404297 h 2325047"/>
                <a:gd name="connsiteX148" fmla="*/ 2076450 w 2241550"/>
                <a:gd name="connsiteY148" fmla="*/ 1378897 h 2325047"/>
                <a:gd name="connsiteX149" fmla="*/ 2089150 w 2241550"/>
                <a:gd name="connsiteY149" fmla="*/ 1359847 h 2325047"/>
                <a:gd name="connsiteX150" fmla="*/ 2171700 w 2241550"/>
                <a:gd name="connsiteY150" fmla="*/ 1378897 h 2325047"/>
                <a:gd name="connsiteX151" fmla="*/ 2190750 w 2241550"/>
                <a:gd name="connsiteY151" fmla="*/ 1385247 h 2325047"/>
                <a:gd name="connsiteX152" fmla="*/ 2228850 w 2241550"/>
                <a:gd name="connsiteY152" fmla="*/ 1366197 h 2325047"/>
                <a:gd name="connsiteX153" fmla="*/ 2235200 w 2241550"/>
                <a:gd name="connsiteY153" fmla="*/ 1340797 h 2325047"/>
                <a:gd name="connsiteX154" fmla="*/ 2241550 w 2241550"/>
                <a:gd name="connsiteY154" fmla="*/ 1296347 h 2325047"/>
                <a:gd name="connsiteX155" fmla="*/ 2235200 w 2241550"/>
                <a:gd name="connsiteY155" fmla="*/ 1245547 h 2325047"/>
                <a:gd name="connsiteX156" fmla="*/ 2228850 w 2241550"/>
                <a:gd name="connsiteY156" fmla="*/ 1226497 h 2325047"/>
                <a:gd name="connsiteX157" fmla="*/ 2222500 w 2241550"/>
                <a:gd name="connsiteY157" fmla="*/ 1162997 h 2325047"/>
                <a:gd name="connsiteX158" fmla="*/ 2184400 w 2241550"/>
                <a:gd name="connsiteY158" fmla="*/ 1143947 h 2325047"/>
                <a:gd name="connsiteX159" fmla="*/ 2152650 w 2241550"/>
                <a:gd name="connsiteY159" fmla="*/ 1112197 h 2325047"/>
                <a:gd name="connsiteX160" fmla="*/ 2139950 w 2241550"/>
                <a:gd name="connsiteY160" fmla="*/ 1086797 h 2325047"/>
                <a:gd name="connsiteX161" fmla="*/ 2120900 w 2241550"/>
                <a:gd name="connsiteY161" fmla="*/ 1080447 h 2325047"/>
                <a:gd name="connsiteX162" fmla="*/ 2057400 w 2241550"/>
                <a:gd name="connsiteY162" fmla="*/ 1074097 h 2325047"/>
                <a:gd name="connsiteX163" fmla="*/ 2038350 w 2241550"/>
                <a:gd name="connsiteY163" fmla="*/ 1067747 h 2325047"/>
                <a:gd name="connsiteX164" fmla="*/ 2012950 w 2241550"/>
                <a:gd name="connsiteY164" fmla="*/ 1010597 h 2325047"/>
                <a:gd name="connsiteX165" fmla="*/ 1955800 w 2241550"/>
                <a:gd name="connsiteY165" fmla="*/ 978847 h 2325047"/>
                <a:gd name="connsiteX166" fmla="*/ 1917700 w 2241550"/>
                <a:gd name="connsiteY166" fmla="*/ 953447 h 2325047"/>
                <a:gd name="connsiteX167" fmla="*/ 1885950 w 2241550"/>
                <a:gd name="connsiteY167" fmla="*/ 896297 h 2325047"/>
                <a:gd name="connsiteX168" fmla="*/ 1847850 w 2241550"/>
                <a:gd name="connsiteY168" fmla="*/ 870897 h 2325047"/>
                <a:gd name="connsiteX169" fmla="*/ 1828800 w 2241550"/>
                <a:gd name="connsiteY169" fmla="*/ 858197 h 2325047"/>
                <a:gd name="connsiteX170" fmla="*/ 1816100 w 2241550"/>
                <a:gd name="connsiteY170" fmla="*/ 839147 h 2325047"/>
                <a:gd name="connsiteX171" fmla="*/ 1739900 w 2241550"/>
                <a:gd name="connsiteY171" fmla="*/ 813747 h 2325047"/>
                <a:gd name="connsiteX172" fmla="*/ 1708150 w 2241550"/>
                <a:gd name="connsiteY172" fmla="*/ 781997 h 2325047"/>
                <a:gd name="connsiteX173" fmla="*/ 1689100 w 2241550"/>
                <a:gd name="connsiteY173" fmla="*/ 769297 h 2325047"/>
                <a:gd name="connsiteX174" fmla="*/ 1670050 w 2241550"/>
                <a:gd name="connsiteY174" fmla="*/ 731197 h 2325047"/>
                <a:gd name="connsiteX175" fmla="*/ 1663700 w 2241550"/>
                <a:gd name="connsiteY175" fmla="*/ 699447 h 2325047"/>
                <a:gd name="connsiteX176" fmla="*/ 1644650 w 2241550"/>
                <a:gd name="connsiteY176" fmla="*/ 680397 h 2325047"/>
                <a:gd name="connsiteX177" fmla="*/ 1625600 w 2241550"/>
                <a:gd name="connsiteY177" fmla="*/ 642297 h 2325047"/>
                <a:gd name="connsiteX178" fmla="*/ 1619250 w 2241550"/>
                <a:gd name="connsiteY178" fmla="*/ 623247 h 2325047"/>
                <a:gd name="connsiteX179" fmla="*/ 1593850 w 2241550"/>
                <a:gd name="connsiteY179" fmla="*/ 585147 h 2325047"/>
                <a:gd name="connsiteX180" fmla="*/ 1555750 w 2241550"/>
                <a:gd name="connsiteY180" fmla="*/ 547047 h 2325047"/>
                <a:gd name="connsiteX181" fmla="*/ 1562100 w 2241550"/>
                <a:gd name="connsiteY181" fmla="*/ 515297 h 2325047"/>
                <a:gd name="connsiteX182" fmla="*/ 1593850 w 2241550"/>
                <a:gd name="connsiteY182" fmla="*/ 477197 h 2325047"/>
                <a:gd name="connsiteX183" fmla="*/ 1574800 w 2241550"/>
                <a:gd name="connsiteY183" fmla="*/ 400997 h 2325047"/>
                <a:gd name="connsiteX184" fmla="*/ 1555750 w 2241550"/>
                <a:gd name="connsiteY184" fmla="*/ 362897 h 2325047"/>
                <a:gd name="connsiteX185" fmla="*/ 1536700 w 2241550"/>
                <a:gd name="connsiteY185" fmla="*/ 356547 h 2325047"/>
                <a:gd name="connsiteX186" fmla="*/ 1517650 w 2241550"/>
                <a:gd name="connsiteY186" fmla="*/ 343847 h 2325047"/>
                <a:gd name="connsiteX187" fmla="*/ 1498600 w 2241550"/>
                <a:gd name="connsiteY187" fmla="*/ 337497 h 2325047"/>
                <a:gd name="connsiteX188" fmla="*/ 1485900 w 2241550"/>
                <a:gd name="connsiteY188" fmla="*/ 318447 h 2325047"/>
                <a:gd name="connsiteX189" fmla="*/ 1466850 w 2241550"/>
                <a:gd name="connsiteY189" fmla="*/ 299397 h 2325047"/>
                <a:gd name="connsiteX190" fmla="*/ 1460500 w 2241550"/>
                <a:gd name="connsiteY190" fmla="*/ 273997 h 2325047"/>
                <a:gd name="connsiteX191" fmla="*/ 1454150 w 2241550"/>
                <a:gd name="connsiteY191" fmla="*/ 242247 h 2325047"/>
                <a:gd name="connsiteX192" fmla="*/ 1447800 w 2241550"/>
                <a:gd name="connsiteY192" fmla="*/ 223197 h 2325047"/>
                <a:gd name="connsiteX193" fmla="*/ 1416050 w 2241550"/>
                <a:gd name="connsiteY193" fmla="*/ 185097 h 2325047"/>
                <a:gd name="connsiteX194" fmla="*/ 1384300 w 2241550"/>
                <a:gd name="connsiteY194" fmla="*/ 134297 h 2325047"/>
                <a:gd name="connsiteX195" fmla="*/ 1365250 w 2241550"/>
                <a:gd name="connsiteY195" fmla="*/ 127947 h 2325047"/>
                <a:gd name="connsiteX196" fmla="*/ 1358900 w 2241550"/>
                <a:gd name="connsiteY196" fmla="*/ 108897 h 2325047"/>
                <a:gd name="connsiteX197" fmla="*/ 1339850 w 2241550"/>
                <a:gd name="connsiteY197" fmla="*/ 96197 h 2325047"/>
                <a:gd name="connsiteX198" fmla="*/ 1327150 w 2241550"/>
                <a:gd name="connsiteY198" fmla="*/ 77147 h 2325047"/>
                <a:gd name="connsiteX199" fmla="*/ 1308100 w 2241550"/>
                <a:gd name="connsiteY199" fmla="*/ 83497 h 2325047"/>
                <a:gd name="connsiteX200" fmla="*/ 1301750 w 2241550"/>
                <a:gd name="connsiteY200" fmla="*/ 102547 h 2325047"/>
                <a:gd name="connsiteX201" fmla="*/ 1263650 w 2241550"/>
                <a:gd name="connsiteY201" fmla="*/ 115247 h 2325047"/>
                <a:gd name="connsiteX202" fmla="*/ 1231900 w 2241550"/>
                <a:gd name="connsiteY202" fmla="*/ 108897 h 2325047"/>
                <a:gd name="connsiteX203" fmla="*/ 1168400 w 2241550"/>
                <a:gd name="connsiteY203" fmla="*/ 115247 h 2325047"/>
                <a:gd name="connsiteX204" fmla="*/ 1149350 w 2241550"/>
                <a:gd name="connsiteY204" fmla="*/ 102547 h 2325047"/>
                <a:gd name="connsiteX205" fmla="*/ 1130300 w 2241550"/>
                <a:gd name="connsiteY205" fmla="*/ 96197 h 2325047"/>
                <a:gd name="connsiteX206" fmla="*/ 1098550 w 2241550"/>
                <a:gd name="connsiteY206" fmla="*/ 58097 h 2325047"/>
                <a:gd name="connsiteX207" fmla="*/ 1073150 w 2241550"/>
                <a:gd name="connsiteY207" fmla="*/ 13647 h 2325047"/>
                <a:gd name="connsiteX208" fmla="*/ 1028700 w 2241550"/>
                <a:gd name="connsiteY208" fmla="*/ 45397 h 2325047"/>
                <a:gd name="connsiteX209" fmla="*/ 1016000 w 2241550"/>
                <a:gd name="connsiteY209" fmla="*/ 64447 h 2325047"/>
                <a:gd name="connsiteX210" fmla="*/ 1035050 w 2241550"/>
                <a:gd name="connsiteY210" fmla="*/ 102547 h 2325047"/>
                <a:gd name="connsiteX211" fmla="*/ 1041400 w 2241550"/>
                <a:gd name="connsiteY211" fmla="*/ 121597 h 2325047"/>
                <a:gd name="connsiteX212" fmla="*/ 1035050 w 2241550"/>
                <a:gd name="connsiteY212" fmla="*/ 166047 h 2325047"/>
                <a:gd name="connsiteX213" fmla="*/ 996950 w 2241550"/>
                <a:gd name="connsiteY213" fmla="*/ 191447 h 2325047"/>
                <a:gd name="connsiteX214" fmla="*/ 952500 w 2241550"/>
                <a:gd name="connsiteY214" fmla="*/ 146997 h 2325047"/>
                <a:gd name="connsiteX215" fmla="*/ 901700 w 2241550"/>
                <a:gd name="connsiteY215" fmla="*/ 140647 h 2325047"/>
                <a:gd name="connsiteX216" fmla="*/ 882650 w 2241550"/>
                <a:gd name="connsiteY216" fmla="*/ 127947 h 2325047"/>
                <a:gd name="connsiteX217" fmla="*/ 806450 w 2241550"/>
                <a:gd name="connsiteY217" fmla="*/ 127947 h 2325047"/>
                <a:gd name="connsiteX218" fmla="*/ 793750 w 2241550"/>
                <a:gd name="connsiteY218" fmla="*/ 153347 h 2325047"/>
                <a:gd name="connsiteX219" fmla="*/ 831850 w 2241550"/>
                <a:gd name="connsiteY219" fmla="*/ 178747 h 2325047"/>
                <a:gd name="connsiteX220" fmla="*/ 844550 w 2241550"/>
                <a:gd name="connsiteY220" fmla="*/ 197797 h 2325047"/>
                <a:gd name="connsiteX221" fmla="*/ 806450 w 2241550"/>
                <a:gd name="connsiteY221" fmla="*/ 223197 h 2325047"/>
                <a:gd name="connsiteX222" fmla="*/ 774700 w 2241550"/>
                <a:gd name="connsiteY222" fmla="*/ 254947 h 2325047"/>
                <a:gd name="connsiteX223" fmla="*/ 742950 w 2241550"/>
                <a:gd name="connsiteY223" fmla="*/ 248597 h 2325047"/>
                <a:gd name="connsiteX224" fmla="*/ 723900 w 2241550"/>
                <a:gd name="connsiteY224" fmla="*/ 229547 h 2325047"/>
                <a:gd name="connsiteX225" fmla="*/ 730250 w 2241550"/>
                <a:gd name="connsiteY225" fmla="*/ 210497 h 2325047"/>
                <a:gd name="connsiteX226" fmla="*/ 711200 w 2241550"/>
                <a:gd name="connsiteY226" fmla="*/ 166047 h 2325047"/>
                <a:gd name="connsiteX227" fmla="*/ 692150 w 2241550"/>
                <a:gd name="connsiteY227" fmla="*/ 159697 h 2325047"/>
                <a:gd name="connsiteX228" fmla="*/ 654050 w 2241550"/>
                <a:gd name="connsiteY228" fmla="*/ 127947 h 2325047"/>
                <a:gd name="connsiteX229" fmla="*/ 628650 w 2241550"/>
                <a:gd name="connsiteY229" fmla="*/ 89847 h 2325047"/>
                <a:gd name="connsiteX230" fmla="*/ 590550 w 2241550"/>
                <a:gd name="connsiteY230" fmla="*/ 64447 h 2325047"/>
                <a:gd name="connsiteX231" fmla="*/ 571500 w 2241550"/>
                <a:gd name="connsiteY231" fmla="*/ 51747 h 2325047"/>
                <a:gd name="connsiteX232" fmla="*/ 552450 w 2241550"/>
                <a:gd name="connsiteY232" fmla="*/ 32697 h 2325047"/>
                <a:gd name="connsiteX233" fmla="*/ 520700 w 2241550"/>
                <a:gd name="connsiteY233" fmla="*/ 947 h 2325047"/>
                <a:gd name="connsiteX234" fmla="*/ 501650 w 2241550"/>
                <a:gd name="connsiteY234" fmla="*/ 7297 h 2325047"/>
                <a:gd name="connsiteX235" fmla="*/ 488950 w 2241550"/>
                <a:gd name="connsiteY235" fmla="*/ 26347 h 2325047"/>
                <a:gd name="connsiteX236" fmla="*/ 469900 w 2241550"/>
                <a:gd name="connsiteY236" fmla="*/ 39047 h 2325047"/>
                <a:gd name="connsiteX237" fmla="*/ 463550 w 2241550"/>
                <a:gd name="connsiteY237" fmla="*/ 77147 h 2325047"/>
                <a:gd name="connsiteX238" fmla="*/ 444500 w 2241550"/>
                <a:gd name="connsiteY238" fmla="*/ 89847 h 2325047"/>
                <a:gd name="connsiteX239" fmla="*/ 374650 w 2241550"/>
                <a:gd name="connsiteY239" fmla="*/ 108897 h 2325047"/>
                <a:gd name="connsiteX240" fmla="*/ 355600 w 2241550"/>
                <a:gd name="connsiteY240" fmla="*/ 121597 h 2325047"/>
                <a:gd name="connsiteX241" fmla="*/ 342900 w 2241550"/>
                <a:gd name="connsiteY241" fmla="*/ 159697 h 2325047"/>
                <a:gd name="connsiteX242" fmla="*/ 336550 w 2241550"/>
                <a:gd name="connsiteY242" fmla="*/ 178747 h 2325047"/>
                <a:gd name="connsiteX243" fmla="*/ 317500 w 2241550"/>
                <a:gd name="connsiteY243" fmla="*/ 185097 h 2325047"/>
                <a:gd name="connsiteX244" fmla="*/ 292100 w 2241550"/>
                <a:gd name="connsiteY244" fmla="*/ 216847 h 2325047"/>
                <a:gd name="connsiteX245" fmla="*/ 241300 w 2241550"/>
                <a:gd name="connsiteY245" fmla="*/ 242247 h 2325047"/>
                <a:gd name="connsiteX246" fmla="*/ 234950 w 2241550"/>
                <a:gd name="connsiteY246" fmla="*/ 305747 h 2325047"/>
                <a:gd name="connsiteX247" fmla="*/ 222250 w 2241550"/>
                <a:gd name="connsiteY247" fmla="*/ 324797 h 2325047"/>
                <a:gd name="connsiteX248" fmla="*/ 184150 w 2241550"/>
                <a:gd name="connsiteY248" fmla="*/ 318447 h 2325047"/>
                <a:gd name="connsiteX249" fmla="*/ 139700 w 2241550"/>
                <a:gd name="connsiteY249" fmla="*/ 305747 h 2325047"/>
                <a:gd name="connsiteX250" fmla="*/ 95250 w 2241550"/>
                <a:gd name="connsiteY250" fmla="*/ 299397 h 2325047"/>
                <a:gd name="connsiteX251" fmla="*/ 38100 w 2241550"/>
                <a:gd name="connsiteY251" fmla="*/ 305747 h 2325047"/>
                <a:gd name="connsiteX252" fmla="*/ 19050 w 2241550"/>
                <a:gd name="connsiteY252" fmla="*/ 312097 h 2325047"/>
                <a:gd name="connsiteX253" fmla="*/ 0 w 2241550"/>
                <a:gd name="connsiteY253" fmla="*/ 331147 h 2325047"/>
                <a:gd name="connsiteX254" fmla="*/ 6350 w 2241550"/>
                <a:gd name="connsiteY254" fmla="*/ 356547 h 2325047"/>
                <a:gd name="connsiteX255" fmla="*/ 19050 w 2241550"/>
                <a:gd name="connsiteY255" fmla="*/ 375597 h 2325047"/>
                <a:gd name="connsiteX256" fmla="*/ 6350 w 2241550"/>
                <a:gd name="connsiteY256" fmla="*/ 426397 h 2325047"/>
                <a:gd name="connsiteX257" fmla="*/ 19050 w 2241550"/>
                <a:gd name="connsiteY257" fmla="*/ 489897 h 2325047"/>
                <a:gd name="connsiteX258" fmla="*/ 50800 w 2241550"/>
                <a:gd name="connsiteY258" fmla="*/ 527997 h 2325047"/>
                <a:gd name="connsiteX259" fmla="*/ 63500 w 2241550"/>
                <a:gd name="connsiteY259" fmla="*/ 547047 h 2325047"/>
                <a:gd name="connsiteX260" fmla="*/ 57150 w 2241550"/>
                <a:gd name="connsiteY260" fmla="*/ 623247 h 2325047"/>
                <a:gd name="connsiteX261" fmla="*/ 44450 w 2241550"/>
                <a:gd name="connsiteY261" fmla="*/ 674047 h 232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Lst>
              <a:rect l="l" t="t" r="r" b="b"/>
              <a:pathLst>
                <a:path w="2241550" h="2325047">
                  <a:moveTo>
                    <a:pt x="44450" y="674047"/>
                  </a:moveTo>
                  <a:cubicBezTo>
                    <a:pt x="55033" y="681455"/>
                    <a:pt x="96861" y="676847"/>
                    <a:pt x="120650" y="667697"/>
                  </a:cubicBezTo>
                  <a:cubicBezTo>
                    <a:pt x="128796" y="664564"/>
                    <a:pt x="121548" y="649112"/>
                    <a:pt x="127000" y="642297"/>
                  </a:cubicBezTo>
                  <a:cubicBezTo>
                    <a:pt x="131181" y="637070"/>
                    <a:pt x="139700" y="638064"/>
                    <a:pt x="146050" y="635947"/>
                  </a:cubicBezTo>
                  <a:cubicBezTo>
                    <a:pt x="154517" y="638064"/>
                    <a:pt x="163347" y="645538"/>
                    <a:pt x="171450" y="642297"/>
                  </a:cubicBezTo>
                  <a:cubicBezTo>
                    <a:pt x="177665" y="639811"/>
                    <a:pt x="178900" y="629849"/>
                    <a:pt x="177800" y="623247"/>
                  </a:cubicBezTo>
                  <a:cubicBezTo>
                    <a:pt x="176545" y="615719"/>
                    <a:pt x="168513" y="611023"/>
                    <a:pt x="165100" y="604197"/>
                  </a:cubicBezTo>
                  <a:cubicBezTo>
                    <a:pt x="146720" y="567438"/>
                    <a:pt x="175812" y="602209"/>
                    <a:pt x="139700" y="566097"/>
                  </a:cubicBezTo>
                  <a:cubicBezTo>
                    <a:pt x="155254" y="555728"/>
                    <a:pt x="163648" y="547047"/>
                    <a:pt x="184150" y="547047"/>
                  </a:cubicBezTo>
                  <a:cubicBezTo>
                    <a:pt x="190843" y="547047"/>
                    <a:pt x="196850" y="551280"/>
                    <a:pt x="203200" y="553397"/>
                  </a:cubicBezTo>
                  <a:cubicBezTo>
                    <a:pt x="209550" y="557630"/>
                    <a:pt x="214618" y="566097"/>
                    <a:pt x="222250" y="566097"/>
                  </a:cubicBezTo>
                  <a:cubicBezTo>
                    <a:pt x="229882" y="566097"/>
                    <a:pt x="234060" y="555810"/>
                    <a:pt x="241300" y="553397"/>
                  </a:cubicBezTo>
                  <a:cubicBezTo>
                    <a:pt x="253514" y="549326"/>
                    <a:pt x="266700" y="549164"/>
                    <a:pt x="279400" y="547047"/>
                  </a:cubicBezTo>
                  <a:cubicBezTo>
                    <a:pt x="283633" y="553397"/>
                    <a:pt x="289687" y="558857"/>
                    <a:pt x="292100" y="566097"/>
                  </a:cubicBezTo>
                  <a:cubicBezTo>
                    <a:pt x="296171" y="578311"/>
                    <a:pt x="287973" y="596713"/>
                    <a:pt x="298450" y="604197"/>
                  </a:cubicBezTo>
                  <a:cubicBezTo>
                    <a:pt x="302487" y="607080"/>
                    <a:pt x="352984" y="593739"/>
                    <a:pt x="361950" y="591497"/>
                  </a:cubicBezTo>
                  <a:cubicBezTo>
                    <a:pt x="368300" y="593614"/>
                    <a:pt x="377109" y="592400"/>
                    <a:pt x="381000" y="597847"/>
                  </a:cubicBezTo>
                  <a:cubicBezTo>
                    <a:pt x="388781" y="608740"/>
                    <a:pt x="389467" y="623247"/>
                    <a:pt x="393700" y="635947"/>
                  </a:cubicBezTo>
                  <a:cubicBezTo>
                    <a:pt x="396113" y="643187"/>
                    <a:pt x="402167" y="648647"/>
                    <a:pt x="406400" y="654997"/>
                  </a:cubicBezTo>
                  <a:cubicBezTo>
                    <a:pt x="408517" y="671930"/>
                    <a:pt x="409945" y="688964"/>
                    <a:pt x="412750" y="705797"/>
                  </a:cubicBezTo>
                  <a:cubicBezTo>
                    <a:pt x="415665" y="723285"/>
                    <a:pt x="418882" y="737329"/>
                    <a:pt x="431800" y="750247"/>
                  </a:cubicBezTo>
                  <a:cubicBezTo>
                    <a:pt x="437196" y="755643"/>
                    <a:pt x="444500" y="758714"/>
                    <a:pt x="450850" y="762947"/>
                  </a:cubicBezTo>
                  <a:cubicBezTo>
                    <a:pt x="494519" y="733834"/>
                    <a:pt x="474470" y="732720"/>
                    <a:pt x="508000" y="743897"/>
                  </a:cubicBezTo>
                  <a:cubicBezTo>
                    <a:pt x="534351" y="849299"/>
                    <a:pt x="511644" y="744526"/>
                    <a:pt x="527050" y="921697"/>
                  </a:cubicBezTo>
                  <a:cubicBezTo>
                    <a:pt x="528727" y="940977"/>
                    <a:pt x="551351" y="967673"/>
                    <a:pt x="558800" y="978847"/>
                  </a:cubicBezTo>
                  <a:cubicBezTo>
                    <a:pt x="595196" y="1033442"/>
                    <a:pt x="551560" y="964367"/>
                    <a:pt x="577850" y="1016947"/>
                  </a:cubicBezTo>
                  <a:cubicBezTo>
                    <a:pt x="609736" y="1080720"/>
                    <a:pt x="569852" y="983469"/>
                    <a:pt x="603250" y="1061397"/>
                  </a:cubicBezTo>
                  <a:cubicBezTo>
                    <a:pt x="610997" y="1079473"/>
                    <a:pt x="607046" y="1084243"/>
                    <a:pt x="622300" y="1099497"/>
                  </a:cubicBezTo>
                  <a:cubicBezTo>
                    <a:pt x="627696" y="1104893"/>
                    <a:pt x="635000" y="1107964"/>
                    <a:pt x="641350" y="1112197"/>
                  </a:cubicBezTo>
                  <a:cubicBezTo>
                    <a:pt x="645583" y="1118547"/>
                    <a:pt x="650637" y="1124421"/>
                    <a:pt x="654050" y="1131247"/>
                  </a:cubicBezTo>
                  <a:cubicBezTo>
                    <a:pt x="664805" y="1152758"/>
                    <a:pt x="664403" y="1188668"/>
                    <a:pt x="666750" y="1207447"/>
                  </a:cubicBezTo>
                  <a:cubicBezTo>
                    <a:pt x="668606" y="1222299"/>
                    <a:pt x="669735" y="1237313"/>
                    <a:pt x="673100" y="1251897"/>
                  </a:cubicBezTo>
                  <a:cubicBezTo>
                    <a:pt x="681101" y="1286569"/>
                    <a:pt x="682429" y="1284940"/>
                    <a:pt x="698500" y="1309047"/>
                  </a:cubicBezTo>
                  <a:cubicBezTo>
                    <a:pt x="692150" y="1313280"/>
                    <a:pt x="686424" y="1318647"/>
                    <a:pt x="679450" y="1321747"/>
                  </a:cubicBezTo>
                  <a:cubicBezTo>
                    <a:pt x="667217" y="1327184"/>
                    <a:pt x="641350" y="1334447"/>
                    <a:pt x="641350" y="1334447"/>
                  </a:cubicBezTo>
                  <a:cubicBezTo>
                    <a:pt x="620429" y="1320500"/>
                    <a:pt x="614911" y="1310548"/>
                    <a:pt x="584200" y="1328097"/>
                  </a:cubicBezTo>
                  <a:cubicBezTo>
                    <a:pt x="578388" y="1331418"/>
                    <a:pt x="579967" y="1340797"/>
                    <a:pt x="577850" y="1347147"/>
                  </a:cubicBezTo>
                  <a:lnTo>
                    <a:pt x="596900" y="1404297"/>
                  </a:lnTo>
                  <a:lnTo>
                    <a:pt x="603250" y="1423347"/>
                  </a:lnTo>
                  <a:cubicBezTo>
                    <a:pt x="599017" y="1429697"/>
                    <a:pt x="596900" y="1438164"/>
                    <a:pt x="590550" y="1442397"/>
                  </a:cubicBezTo>
                  <a:cubicBezTo>
                    <a:pt x="583288" y="1447238"/>
                    <a:pt x="573509" y="1446239"/>
                    <a:pt x="565150" y="1448747"/>
                  </a:cubicBezTo>
                  <a:cubicBezTo>
                    <a:pt x="552328" y="1452594"/>
                    <a:pt x="539750" y="1457214"/>
                    <a:pt x="527050" y="1461447"/>
                  </a:cubicBezTo>
                  <a:lnTo>
                    <a:pt x="508000" y="1467797"/>
                  </a:lnTo>
                  <a:lnTo>
                    <a:pt x="488950" y="1474147"/>
                  </a:lnTo>
                  <a:cubicBezTo>
                    <a:pt x="484717" y="1480497"/>
                    <a:pt x="479663" y="1486371"/>
                    <a:pt x="476250" y="1493197"/>
                  </a:cubicBezTo>
                  <a:cubicBezTo>
                    <a:pt x="469741" y="1506214"/>
                    <a:pt x="465965" y="1531921"/>
                    <a:pt x="463550" y="1543997"/>
                  </a:cubicBezTo>
                  <a:cubicBezTo>
                    <a:pt x="465667" y="1552464"/>
                    <a:pt x="467502" y="1561006"/>
                    <a:pt x="469900" y="1569397"/>
                  </a:cubicBezTo>
                  <a:cubicBezTo>
                    <a:pt x="471739" y="1575833"/>
                    <a:pt x="474489" y="1581989"/>
                    <a:pt x="476250" y="1588447"/>
                  </a:cubicBezTo>
                  <a:cubicBezTo>
                    <a:pt x="480843" y="1605286"/>
                    <a:pt x="483430" y="1622688"/>
                    <a:pt x="488950" y="1639247"/>
                  </a:cubicBezTo>
                  <a:cubicBezTo>
                    <a:pt x="491067" y="1645597"/>
                    <a:pt x="493539" y="1651839"/>
                    <a:pt x="495300" y="1658297"/>
                  </a:cubicBezTo>
                  <a:cubicBezTo>
                    <a:pt x="499893" y="1675136"/>
                    <a:pt x="502480" y="1692538"/>
                    <a:pt x="508000" y="1709097"/>
                  </a:cubicBezTo>
                  <a:cubicBezTo>
                    <a:pt x="510117" y="1715447"/>
                    <a:pt x="511357" y="1722160"/>
                    <a:pt x="514350" y="1728147"/>
                  </a:cubicBezTo>
                  <a:cubicBezTo>
                    <a:pt x="517763" y="1734973"/>
                    <a:pt x="522817" y="1740847"/>
                    <a:pt x="527050" y="1747197"/>
                  </a:cubicBezTo>
                  <a:cubicBezTo>
                    <a:pt x="524933" y="1759897"/>
                    <a:pt x="523493" y="1772728"/>
                    <a:pt x="520700" y="1785297"/>
                  </a:cubicBezTo>
                  <a:cubicBezTo>
                    <a:pt x="519248" y="1791831"/>
                    <a:pt x="516189" y="1797911"/>
                    <a:pt x="514350" y="1804347"/>
                  </a:cubicBezTo>
                  <a:cubicBezTo>
                    <a:pt x="511952" y="1812738"/>
                    <a:pt x="510117" y="1821280"/>
                    <a:pt x="508000" y="1829747"/>
                  </a:cubicBezTo>
                  <a:cubicBezTo>
                    <a:pt x="505883" y="1886897"/>
                    <a:pt x="507341" y="1944292"/>
                    <a:pt x="501650" y="2001197"/>
                  </a:cubicBezTo>
                  <a:cubicBezTo>
                    <a:pt x="500891" y="2008791"/>
                    <a:pt x="492363" y="2013421"/>
                    <a:pt x="488950" y="2020247"/>
                  </a:cubicBezTo>
                  <a:cubicBezTo>
                    <a:pt x="485957" y="2026234"/>
                    <a:pt x="488047" y="2035406"/>
                    <a:pt x="482600" y="2039297"/>
                  </a:cubicBezTo>
                  <a:cubicBezTo>
                    <a:pt x="457923" y="2056923"/>
                    <a:pt x="386247" y="2056851"/>
                    <a:pt x="368300" y="2058347"/>
                  </a:cubicBezTo>
                  <a:cubicBezTo>
                    <a:pt x="361950" y="2060464"/>
                    <a:pt x="355237" y="2061704"/>
                    <a:pt x="349250" y="2064697"/>
                  </a:cubicBezTo>
                  <a:cubicBezTo>
                    <a:pt x="300011" y="2089316"/>
                    <a:pt x="359033" y="2067786"/>
                    <a:pt x="311150" y="2083747"/>
                  </a:cubicBezTo>
                  <a:cubicBezTo>
                    <a:pt x="304800" y="2087980"/>
                    <a:pt x="277283" y="2102797"/>
                    <a:pt x="279400" y="2115497"/>
                  </a:cubicBezTo>
                  <a:cubicBezTo>
                    <a:pt x="280876" y="2124355"/>
                    <a:pt x="290600" y="2130186"/>
                    <a:pt x="298450" y="2134547"/>
                  </a:cubicBezTo>
                  <a:cubicBezTo>
                    <a:pt x="310152" y="2141048"/>
                    <a:pt x="336550" y="2147247"/>
                    <a:pt x="336550" y="2147247"/>
                  </a:cubicBezTo>
                  <a:cubicBezTo>
                    <a:pt x="377767" y="2106030"/>
                    <a:pt x="360470" y="2099230"/>
                    <a:pt x="400050" y="2121847"/>
                  </a:cubicBezTo>
                  <a:cubicBezTo>
                    <a:pt x="406676" y="2125633"/>
                    <a:pt x="412750" y="2130314"/>
                    <a:pt x="419100" y="2134547"/>
                  </a:cubicBezTo>
                  <a:cubicBezTo>
                    <a:pt x="429683" y="2132430"/>
                    <a:pt x="440140" y="2126858"/>
                    <a:pt x="450850" y="2128197"/>
                  </a:cubicBezTo>
                  <a:cubicBezTo>
                    <a:pt x="458423" y="2129144"/>
                    <a:pt x="465855" y="2134425"/>
                    <a:pt x="469900" y="2140897"/>
                  </a:cubicBezTo>
                  <a:cubicBezTo>
                    <a:pt x="477491" y="2153043"/>
                    <a:pt x="493211" y="2221439"/>
                    <a:pt x="495300" y="2229797"/>
                  </a:cubicBezTo>
                  <a:cubicBezTo>
                    <a:pt x="497417" y="2238264"/>
                    <a:pt x="512233" y="2234030"/>
                    <a:pt x="520700" y="2236147"/>
                  </a:cubicBezTo>
                  <a:cubicBezTo>
                    <a:pt x="567079" y="2220687"/>
                    <a:pt x="555553" y="2210460"/>
                    <a:pt x="565150" y="2248847"/>
                  </a:cubicBezTo>
                  <a:cubicBezTo>
                    <a:pt x="563033" y="2257314"/>
                    <a:pt x="562238" y="2266225"/>
                    <a:pt x="558800" y="2274247"/>
                  </a:cubicBezTo>
                  <a:cubicBezTo>
                    <a:pt x="555794" y="2281262"/>
                    <a:pt x="547047" y="2285724"/>
                    <a:pt x="546100" y="2293297"/>
                  </a:cubicBezTo>
                  <a:cubicBezTo>
                    <a:pt x="544761" y="2304007"/>
                    <a:pt x="550333" y="2314464"/>
                    <a:pt x="552450" y="2325047"/>
                  </a:cubicBezTo>
                  <a:cubicBezTo>
                    <a:pt x="576972" y="2320143"/>
                    <a:pt x="589909" y="2323661"/>
                    <a:pt x="603250" y="2299647"/>
                  </a:cubicBezTo>
                  <a:cubicBezTo>
                    <a:pt x="609751" y="2287945"/>
                    <a:pt x="611717" y="2274247"/>
                    <a:pt x="615950" y="2261547"/>
                  </a:cubicBezTo>
                  <a:cubicBezTo>
                    <a:pt x="618067" y="2255197"/>
                    <a:pt x="618587" y="2248066"/>
                    <a:pt x="622300" y="2242497"/>
                  </a:cubicBezTo>
                  <a:cubicBezTo>
                    <a:pt x="626533" y="2236147"/>
                    <a:pt x="630114" y="2229310"/>
                    <a:pt x="635000" y="2223447"/>
                  </a:cubicBezTo>
                  <a:cubicBezTo>
                    <a:pt x="652555" y="2202381"/>
                    <a:pt x="654926" y="2208996"/>
                    <a:pt x="666750" y="2185347"/>
                  </a:cubicBezTo>
                  <a:cubicBezTo>
                    <a:pt x="669743" y="2179360"/>
                    <a:pt x="670983" y="2172647"/>
                    <a:pt x="673100" y="2166297"/>
                  </a:cubicBezTo>
                  <a:cubicBezTo>
                    <a:pt x="675217" y="2147247"/>
                    <a:pt x="667950" y="2124481"/>
                    <a:pt x="679450" y="2109147"/>
                  </a:cubicBezTo>
                  <a:cubicBezTo>
                    <a:pt x="685926" y="2100513"/>
                    <a:pt x="700407" y="2115497"/>
                    <a:pt x="711200" y="2115497"/>
                  </a:cubicBezTo>
                  <a:cubicBezTo>
                    <a:pt x="724075" y="2115497"/>
                    <a:pt x="736600" y="2111264"/>
                    <a:pt x="749300" y="2109147"/>
                  </a:cubicBezTo>
                  <a:cubicBezTo>
                    <a:pt x="757767" y="2111264"/>
                    <a:pt x="766894" y="2111594"/>
                    <a:pt x="774700" y="2115497"/>
                  </a:cubicBezTo>
                  <a:cubicBezTo>
                    <a:pt x="788352" y="2122323"/>
                    <a:pt x="812800" y="2140897"/>
                    <a:pt x="812800" y="2140897"/>
                  </a:cubicBezTo>
                  <a:cubicBezTo>
                    <a:pt x="827617" y="2138780"/>
                    <a:pt x="842574" y="2137482"/>
                    <a:pt x="857250" y="2134547"/>
                  </a:cubicBezTo>
                  <a:cubicBezTo>
                    <a:pt x="863814" y="2133234"/>
                    <a:pt x="869607" y="2128197"/>
                    <a:pt x="876300" y="2128197"/>
                  </a:cubicBezTo>
                  <a:cubicBezTo>
                    <a:pt x="882993" y="2128197"/>
                    <a:pt x="889000" y="2132430"/>
                    <a:pt x="895350" y="2134547"/>
                  </a:cubicBezTo>
                  <a:cubicBezTo>
                    <a:pt x="897467" y="2151480"/>
                    <a:pt x="895868" y="2169309"/>
                    <a:pt x="901700" y="2185347"/>
                  </a:cubicBezTo>
                  <a:cubicBezTo>
                    <a:pt x="904769" y="2193787"/>
                    <a:pt x="915769" y="2196925"/>
                    <a:pt x="920750" y="2204397"/>
                  </a:cubicBezTo>
                  <a:cubicBezTo>
                    <a:pt x="924463" y="2209966"/>
                    <a:pt x="922919" y="2218220"/>
                    <a:pt x="927100" y="2223447"/>
                  </a:cubicBezTo>
                  <a:cubicBezTo>
                    <a:pt x="936052" y="2234638"/>
                    <a:pt x="952651" y="2238314"/>
                    <a:pt x="965200" y="2242497"/>
                  </a:cubicBezTo>
                  <a:cubicBezTo>
                    <a:pt x="984653" y="2239718"/>
                    <a:pt x="1013795" y="2242078"/>
                    <a:pt x="1028700" y="2223447"/>
                  </a:cubicBezTo>
                  <a:cubicBezTo>
                    <a:pt x="1032881" y="2218220"/>
                    <a:pt x="1029063" y="2207390"/>
                    <a:pt x="1035050" y="2204397"/>
                  </a:cubicBezTo>
                  <a:cubicBezTo>
                    <a:pt x="1048437" y="2197704"/>
                    <a:pt x="1064683" y="2200164"/>
                    <a:pt x="1079500" y="2198047"/>
                  </a:cubicBezTo>
                  <a:cubicBezTo>
                    <a:pt x="1134095" y="2161651"/>
                    <a:pt x="1069847" y="2210114"/>
                    <a:pt x="1104900" y="2166297"/>
                  </a:cubicBezTo>
                  <a:cubicBezTo>
                    <a:pt x="1109668" y="2160338"/>
                    <a:pt x="1116976" y="2156697"/>
                    <a:pt x="1123950" y="2153597"/>
                  </a:cubicBezTo>
                  <a:cubicBezTo>
                    <a:pt x="1163430" y="2136050"/>
                    <a:pt x="1178603" y="2139242"/>
                    <a:pt x="1225550" y="2134547"/>
                  </a:cubicBezTo>
                  <a:cubicBezTo>
                    <a:pt x="1223433" y="2123964"/>
                    <a:pt x="1221818" y="2113268"/>
                    <a:pt x="1219200" y="2102797"/>
                  </a:cubicBezTo>
                  <a:cubicBezTo>
                    <a:pt x="1217577" y="2096303"/>
                    <a:pt x="1209857" y="2089734"/>
                    <a:pt x="1212850" y="2083747"/>
                  </a:cubicBezTo>
                  <a:cubicBezTo>
                    <a:pt x="1215843" y="2077760"/>
                    <a:pt x="1225550" y="2079514"/>
                    <a:pt x="1231900" y="2077397"/>
                  </a:cubicBezTo>
                  <a:cubicBezTo>
                    <a:pt x="1282799" y="2084668"/>
                    <a:pt x="1282221" y="2088202"/>
                    <a:pt x="1339850" y="2077397"/>
                  </a:cubicBezTo>
                  <a:cubicBezTo>
                    <a:pt x="1353008" y="2074930"/>
                    <a:pt x="1377950" y="2064697"/>
                    <a:pt x="1377950" y="2064697"/>
                  </a:cubicBezTo>
                  <a:cubicBezTo>
                    <a:pt x="1405803" y="2068179"/>
                    <a:pt x="1466686" y="2079610"/>
                    <a:pt x="1492250" y="2064697"/>
                  </a:cubicBezTo>
                  <a:cubicBezTo>
                    <a:pt x="1503813" y="2057952"/>
                    <a:pt x="1502749" y="2039802"/>
                    <a:pt x="1504950" y="2026597"/>
                  </a:cubicBezTo>
                  <a:cubicBezTo>
                    <a:pt x="1512555" y="1980969"/>
                    <a:pt x="1500587" y="1995639"/>
                    <a:pt x="1530350" y="1975797"/>
                  </a:cubicBezTo>
                  <a:cubicBezTo>
                    <a:pt x="1534583" y="1982147"/>
                    <a:pt x="1537091" y="1990079"/>
                    <a:pt x="1543050" y="1994847"/>
                  </a:cubicBezTo>
                  <a:cubicBezTo>
                    <a:pt x="1548277" y="1999028"/>
                    <a:pt x="1555664" y="1999358"/>
                    <a:pt x="1562100" y="2001197"/>
                  </a:cubicBezTo>
                  <a:cubicBezTo>
                    <a:pt x="1617914" y="2017144"/>
                    <a:pt x="1560875" y="1998672"/>
                    <a:pt x="1606550" y="2013897"/>
                  </a:cubicBezTo>
                  <a:cubicBezTo>
                    <a:pt x="1618004" y="2025351"/>
                    <a:pt x="1626270" y="2039297"/>
                    <a:pt x="1644650" y="2039297"/>
                  </a:cubicBezTo>
                  <a:cubicBezTo>
                    <a:pt x="1653377" y="2039297"/>
                    <a:pt x="1661583" y="2035064"/>
                    <a:pt x="1670050" y="2032947"/>
                  </a:cubicBezTo>
                  <a:cubicBezTo>
                    <a:pt x="1676400" y="2026597"/>
                    <a:pt x="1681628" y="2018878"/>
                    <a:pt x="1689100" y="2013897"/>
                  </a:cubicBezTo>
                  <a:cubicBezTo>
                    <a:pt x="1709502" y="2000296"/>
                    <a:pt x="1739337" y="2011445"/>
                    <a:pt x="1758950" y="2013897"/>
                  </a:cubicBezTo>
                  <a:cubicBezTo>
                    <a:pt x="1765300" y="2018130"/>
                    <a:pt x="1773232" y="2020638"/>
                    <a:pt x="1778000" y="2026597"/>
                  </a:cubicBezTo>
                  <a:cubicBezTo>
                    <a:pt x="1784762" y="2035050"/>
                    <a:pt x="1790288" y="2082924"/>
                    <a:pt x="1790700" y="2083747"/>
                  </a:cubicBezTo>
                  <a:cubicBezTo>
                    <a:pt x="1793838" y="2090023"/>
                    <a:pt x="1832430" y="2107515"/>
                    <a:pt x="1835150" y="2109147"/>
                  </a:cubicBezTo>
                  <a:cubicBezTo>
                    <a:pt x="1889737" y="2141899"/>
                    <a:pt x="1853982" y="2128124"/>
                    <a:pt x="1892300" y="2140897"/>
                  </a:cubicBezTo>
                  <a:cubicBezTo>
                    <a:pt x="1920992" y="2097859"/>
                    <a:pt x="1889460" y="2151310"/>
                    <a:pt x="1911350" y="2071047"/>
                  </a:cubicBezTo>
                  <a:cubicBezTo>
                    <a:pt x="1913358" y="2063684"/>
                    <a:pt x="1920637" y="2058823"/>
                    <a:pt x="1924050" y="2051997"/>
                  </a:cubicBezTo>
                  <a:cubicBezTo>
                    <a:pt x="1927043" y="2046010"/>
                    <a:pt x="1928283" y="2039297"/>
                    <a:pt x="1930400" y="2032947"/>
                  </a:cubicBezTo>
                  <a:cubicBezTo>
                    <a:pt x="1928283" y="2020247"/>
                    <a:pt x="1926843" y="2007416"/>
                    <a:pt x="1924050" y="1994847"/>
                  </a:cubicBezTo>
                  <a:cubicBezTo>
                    <a:pt x="1922598" y="1988313"/>
                    <a:pt x="1922433" y="1980530"/>
                    <a:pt x="1917700" y="1975797"/>
                  </a:cubicBezTo>
                  <a:cubicBezTo>
                    <a:pt x="1912967" y="1971064"/>
                    <a:pt x="1905236" y="1970644"/>
                    <a:pt x="1898650" y="1969447"/>
                  </a:cubicBezTo>
                  <a:cubicBezTo>
                    <a:pt x="1881860" y="1966394"/>
                    <a:pt x="1864783" y="1965214"/>
                    <a:pt x="1847850" y="1963097"/>
                  </a:cubicBezTo>
                  <a:cubicBezTo>
                    <a:pt x="1845733" y="1956747"/>
                    <a:pt x="1840400" y="1950649"/>
                    <a:pt x="1841500" y="1944047"/>
                  </a:cubicBezTo>
                  <a:cubicBezTo>
                    <a:pt x="1842755" y="1936519"/>
                    <a:pt x="1850787" y="1931823"/>
                    <a:pt x="1854200" y="1924997"/>
                  </a:cubicBezTo>
                  <a:cubicBezTo>
                    <a:pt x="1880490" y="1872417"/>
                    <a:pt x="1836854" y="1941492"/>
                    <a:pt x="1873250" y="1886897"/>
                  </a:cubicBezTo>
                  <a:cubicBezTo>
                    <a:pt x="1871133" y="1869964"/>
                    <a:pt x="1869953" y="1852887"/>
                    <a:pt x="1866900" y="1836097"/>
                  </a:cubicBezTo>
                  <a:cubicBezTo>
                    <a:pt x="1865703" y="1829511"/>
                    <a:pt x="1865777" y="1821228"/>
                    <a:pt x="1860550" y="1817047"/>
                  </a:cubicBezTo>
                  <a:cubicBezTo>
                    <a:pt x="1853735" y="1811595"/>
                    <a:pt x="1843541" y="1813095"/>
                    <a:pt x="1835150" y="1810697"/>
                  </a:cubicBezTo>
                  <a:cubicBezTo>
                    <a:pt x="1828714" y="1808858"/>
                    <a:pt x="1822450" y="1806464"/>
                    <a:pt x="1816100" y="1804347"/>
                  </a:cubicBezTo>
                  <a:cubicBezTo>
                    <a:pt x="1811867" y="1797997"/>
                    <a:pt x="1806500" y="1792271"/>
                    <a:pt x="1803400" y="1785297"/>
                  </a:cubicBezTo>
                  <a:cubicBezTo>
                    <a:pt x="1797963" y="1773064"/>
                    <a:pt x="1798126" y="1758336"/>
                    <a:pt x="1790700" y="1747197"/>
                  </a:cubicBezTo>
                  <a:cubicBezTo>
                    <a:pt x="1761587" y="1703528"/>
                    <a:pt x="1770127" y="1723577"/>
                    <a:pt x="1758950" y="1690047"/>
                  </a:cubicBezTo>
                  <a:cubicBezTo>
                    <a:pt x="1761067" y="1681580"/>
                    <a:pt x="1759848" y="1671462"/>
                    <a:pt x="1765300" y="1664647"/>
                  </a:cubicBezTo>
                  <a:cubicBezTo>
                    <a:pt x="1769481" y="1659420"/>
                    <a:pt x="1778499" y="1661548"/>
                    <a:pt x="1784350" y="1658297"/>
                  </a:cubicBezTo>
                  <a:cubicBezTo>
                    <a:pt x="1797693" y="1650884"/>
                    <a:pt x="1809750" y="1641364"/>
                    <a:pt x="1822450" y="1632897"/>
                  </a:cubicBezTo>
                  <a:lnTo>
                    <a:pt x="1841500" y="1620197"/>
                  </a:lnTo>
                  <a:cubicBezTo>
                    <a:pt x="1845733" y="1613847"/>
                    <a:pt x="1849314" y="1607010"/>
                    <a:pt x="1854200" y="1601147"/>
                  </a:cubicBezTo>
                  <a:cubicBezTo>
                    <a:pt x="1864231" y="1589110"/>
                    <a:pt x="1878029" y="1576533"/>
                    <a:pt x="1892300" y="1569397"/>
                  </a:cubicBezTo>
                  <a:cubicBezTo>
                    <a:pt x="1902450" y="1564322"/>
                    <a:pt x="1927255" y="1559410"/>
                    <a:pt x="1936750" y="1556697"/>
                  </a:cubicBezTo>
                  <a:cubicBezTo>
                    <a:pt x="1943186" y="1554858"/>
                    <a:pt x="1949306" y="1551970"/>
                    <a:pt x="1955800" y="1550347"/>
                  </a:cubicBezTo>
                  <a:lnTo>
                    <a:pt x="2006600" y="1537647"/>
                  </a:lnTo>
                  <a:cubicBezTo>
                    <a:pt x="2012950" y="1533414"/>
                    <a:pt x="2020882" y="1530906"/>
                    <a:pt x="2025650" y="1524947"/>
                  </a:cubicBezTo>
                  <a:cubicBezTo>
                    <a:pt x="2032144" y="1516829"/>
                    <a:pt x="2033787" y="1487342"/>
                    <a:pt x="2038350" y="1480497"/>
                  </a:cubicBezTo>
                  <a:cubicBezTo>
                    <a:pt x="2042583" y="1474147"/>
                    <a:pt x="2051050" y="1472030"/>
                    <a:pt x="2057400" y="1467797"/>
                  </a:cubicBezTo>
                  <a:cubicBezTo>
                    <a:pt x="2072149" y="1408799"/>
                    <a:pt x="2054531" y="1482144"/>
                    <a:pt x="2070100" y="1404297"/>
                  </a:cubicBezTo>
                  <a:cubicBezTo>
                    <a:pt x="2071812" y="1395739"/>
                    <a:pt x="2073012" y="1386919"/>
                    <a:pt x="2076450" y="1378897"/>
                  </a:cubicBezTo>
                  <a:cubicBezTo>
                    <a:pt x="2079456" y="1371882"/>
                    <a:pt x="2084917" y="1366197"/>
                    <a:pt x="2089150" y="1359847"/>
                  </a:cubicBezTo>
                  <a:cubicBezTo>
                    <a:pt x="2146852" y="1368090"/>
                    <a:pt x="2119401" y="1361464"/>
                    <a:pt x="2171700" y="1378897"/>
                  </a:cubicBezTo>
                  <a:lnTo>
                    <a:pt x="2190750" y="1385247"/>
                  </a:lnTo>
                  <a:cubicBezTo>
                    <a:pt x="2201617" y="1381625"/>
                    <a:pt x="2221816" y="1376748"/>
                    <a:pt x="2228850" y="1366197"/>
                  </a:cubicBezTo>
                  <a:cubicBezTo>
                    <a:pt x="2233691" y="1358935"/>
                    <a:pt x="2233639" y="1349383"/>
                    <a:pt x="2235200" y="1340797"/>
                  </a:cubicBezTo>
                  <a:cubicBezTo>
                    <a:pt x="2237877" y="1326071"/>
                    <a:pt x="2239433" y="1311164"/>
                    <a:pt x="2241550" y="1296347"/>
                  </a:cubicBezTo>
                  <a:cubicBezTo>
                    <a:pt x="2239433" y="1279414"/>
                    <a:pt x="2238253" y="1262337"/>
                    <a:pt x="2235200" y="1245547"/>
                  </a:cubicBezTo>
                  <a:cubicBezTo>
                    <a:pt x="2234003" y="1238961"/>
                    <a:pt x="2229868" y="1233113"/>
                    <a:pt x="2228850" y="1226497"/>
                  </a:cubicBezTo>
                  <a:cubicBezTo>
                    <a:pt x="2225615" y="1205472"/>
                    <a:pt x="2229227" y="1183178"/>
                    <a:pt x="2222500" y="1162997"/>
                  </a:cubicBezTo>
                  <a:cubicBezTo>
                    <a:pt x="2219423" y="1153765"/>
                    <a:pt x="2191797" y="1146413"/>
                    <a:pt x="2184400" y="1143947"/>
                  </a:cubicBezTo>
                  <a:cubicBezTo>
                    <a:pt x="2162908" y="1129619"/>
                    <a:pt x="2165676" y="1134992"/>
                    <a:pt x="2152650" y="1112197"/>
                  </a:cubicBezTo>
                  <a:cubicBezTo>
                    <a:pt x="2147954" y="1103978"/>
                    <a:pt x="2146643" y="1093490"/>
                    <a:pt x="2139950" y="1086797"/>
                  </a:cubicBezTo>
                  <a:cubicBezTo>
                    <a:pt x="2135217" y="1082064"/>
                    <a:pt x="2127516" y="1081465"/>
                    <a:pt x="2120900" y="1080447"/>
                  </a:cubicBezTo>
                  <a:cubicBezTo>
                    <a:pt x="2099875" y="1077212"/>
                    <a:pt x="2078567" y="1076214"/>
                    <a:pt x="2057400" y="1074097"/>
                  </a:cubicBezTo>
                  <a:cubicBezTo>
                    <a:pt x="2051050" y="1071980"/>
                    <a:pt x="2043577" y="1071928"/>
                    <a:pt x="2038350" y="1067747"/>
                  </a:cubicBezTo>
                  <a:cubicBezTo>
                    <a:pt x="2024628" y="1056769"/>
                    <a:pt x="2016831" y="1022239"/>
                    <a:pt x="2012950" y="1010597"/>
                  </a:cubicBezTo>
                  <a:cubicBezTo>
                    <a:pt x="2007491" y="994221"/>
                    <a:pt x="1972574" y="984438"/>
                    <a:pt x="1955800" y="978847"/>
                  </a:cubicBezTo>
                  <a:cubicBezTo>
                    <a:pt x="1943100" y="970380"/>
                    <a:pt x="1922527" y="967927"/>
                    <a:pt x="1917700" y="953447"/>
                  </a:cubicBezTo>
                  <a:cubicBezTo>
                    <a:pt x="1906411" y="919580"/>
                    <a:pt x="1911614" y="916258"/>
                    <a:pt x="1885950" y="896297"/>
                  </a:cubicBezTo>
                  <a:cubicBezTo>
                    <a:pt x="1873902" y="886926"/>
                    <a:pt x="1860550" y="879364"/>
                    <a:pt x="1847850" y="870897"/>
                  </a:cubicBezTo>
                  <a:lnTo>
                    <a:pt x="1828800" y="858197"/>
                  </a:lnTo>
                  <a:cubicBezTo>
                    <a:pt x="1824567" y="851847"/>
                    <a:pt x="1821496" y="844543"/>
                    <a:pt x="1816100" y="839147"/>
                  </a:cubicBezTo>
                  <a:cubicBezTo>
                    <a:pt x="1796312" y="819359"/>
                    <a:pt x="1765302" y="817981"/>
                    <a:pt x="1739900" y="813747"/>
                  </a:cubicBezTo>
                  <a:cubicBezTo>
                    <a:pt x="1689100" y="779880"/>
                    <a:pt x="1750483" y="824330"/>
                    <a:pt x="1708150" y="781997"/>
                  </a:cubicBezTo>
                  <a:cubicBezTo>
                    <a:pt x="1702754" y="776601"/>
                    <a:pt x="1695450" y="773530"/>
                    <a:pt x="1689100" y="769297"/>
                  </a:cubicBezTo>
                  <a:cubicBezTo>
                    <a:pt x="1676684" y="750673"/>
                    <a:pt x="1675308" y="752229"/>
                    <a:pt x="1670050" y="731197"/>
                  </a:cubicBezTo>
                  <a:cubicBezTo>
                    <a:pt x="1667432" y="720726"/>
                    <a:pt x="1668527" y="709100"/>
                    <a:pt x="1663700" y="699447"/>
                  </a:cubicBezTo>
                  <a:cubicBezTo>
                    <a:pt x="1659684" y="691415"/>
                    <a:pt x="1651000" y="686747"/>
                    <a:pt x="1644650" y="680397"/>
                  </a:cubicBezTo>
                  <a:cubicBezTo>
                    <a:pt x="1628689" y="632514"/>
                    <a:pt x="1650219" y="691536"/>
                    <a:pt x="1625600" y="642297"/>
                  </a:cubicBezTo>
                  <a:cubicBezTo>
                    <a:pt x="1622607" y="636310"/>
                    <a:pt x="1622501" y="629098"/>
                    <a:pt x="1619250" y="623247"/>
                  </a:cubicBezTo>
                  <a:cubicBezTo>
                    <a:pt x="1611837" y="609904"/>
                    <a:pt x="1602317" y="597847"/>
                    <a:pt x="1593850" y="585147"/>
                  </a:cubicBezTo>
                  <a:cubicBezTo>
                    <a:pt x="1583887" y="570203"/>
                    <a:pt x="1555750" y="547047"/>
                    <a:pt x="1555750" y="547047"/>
                  </a:cubicBezTo>
                  <a:cubicBezTo>
                    <a:pt x="1557867" y="536464"/>
                    <a:pt x="1558310" y="525403"/>
                    <a:pt x="1562100" y="515297"/>
                  </a:cubicBezTo>
                  <a:cubicBezTo>
                    <a:pt x="1567404" y="501152"/>
                    <a:pt x="1583967" y="487080"/>
                    <a:pt x="1593850" y="477197"/>
                  </a:cubicBezTo>
                  <a:cubicBezTo>
                    <a:pt x="1585299" y="425892"/>
                    <a:pt x="1591571" y="451311"/>
                    <a:pt x="1574800" y="400997"/>
                  </a:cubicBezTo>
                  <a:cubicBezTo>
                    <a:pt x="1570617" y="388448"/>
                    <a:pt x="1566941" y="371849"/>
                    <a:pt x="1555750" y="362897"/>
                  </a:cubicBezTo>
                  <a:cubicBezTo>
                    <a:pt x="1550523" y="358716"/>
                    <a:pt x="1543050" y="358664"/>
                    <a:pt x="1536700" y="356547"/>
                  </a:cubicBezTo>
                  <a:cubicBezTo>
                    <a:pt x="1530350" y="352314"/>
                    <a:pt x="1524476" y="347260"/>
                    <a:pt x="1517650" y="343847"/>
                  </a:cubicBezTo>
                  <a:cubicBezTo>
                    <a:pt x="1511663" y="340854"/>
                    <a:pt x="1503827" y="341678"/>
                    <a:pt x="1498600" y="337497"/>
                  </a:cubicBezTo>
                  <a:cubicBezTo>
                    <a:pt x="1492641" y="332729"/>
                    <a:pt x="1490786" y="324310"/>
                    <a:pt x="1485900" y="318447"/>
                  </a:cubicBezTo>
                  <a:cubicBezTo>
                    <a:pt x="1480151" y="311548"/>
                    <a:pt x="1473200" y="305747"/>
                    <a:pt x="1466850" y="299397"/>
                  </a:cubicBezTo>
                  <a:cubicBezTo>
                    <a:pt x="1464733" y="290930"/>
                    <a:pt x="1462393" y="282516"/>
                    <a:pt x="1460500" y="273997"/>
                  </a:cubicBezTo>
                  <a:cubicBezTo>
                    <a:pt x="1458159" y="263461"/>
                    <a:pt x="1456768" y="252718"/>
                    <a:pt x="1454150" y="242247"/>
                  </a:cubicBezTo>
                  <a:cubicBezTo>
                    <a:pt x="1452527" y="235753"/>
                    <a:pt x="1451513" y="228766"/>
                    <a:pt x="1447800" y="223197"/>
                  </a:cubicBezTo>
                  <a:cubicBezTo>
                    <a:pt x="1427861" y="193289"/>
                    <a:pt x="1429900" y="216260"/>
                    <a:pt x="1416050" y="185097"/>
                  </a:cubicBezTo>
                  <a:cubicBezTo>
                    <a:pt x="1399503" y="147866"/>
                    <a:pt x="1415306" y="149800"/>
                    <a:pt x="1384300" y="134297"/>
                  </a:cubicBezTo>
                  <a:cubicBezTo>
                    <a:pt x="1378313" y="131304"/>
                    <a:pt x="1371600" y="130064"/>
                    <a:pt x="1365250" y="127947"/>
                  </a:cubicBezTo>
                  <a:cubicBezTo>
                    <a:pt x="1363133" y="121597"/>
                    <a:pt x="1363081" y="114124"/>
                    <a:pt x="1358900" y="108897"/>
                  </a:cubicBezTo>
                  <a:cubicBezTo>
                    <a:pt x="1354132" y="102938"/>
                    <a:pt x="1345246" y="101593"/>
                    <a:pt x="1339850" y="96197"/>
                  </a:cubicBezTo>
                  <a:cubicBezTo>
                    <a:pt x="1334454" y="90801"/>
                    <a:pt x="1331383" y="83497"/>
                    <a:pt x="1327150" y="77147"/>
                  </a:cubicBezTo>
                  <a:cubicBezTo>
                    <a:pt x="1320800" y="79264"/>
                    <a:pt x="1312833" y="78764"/>
                    <a:pt x="1308100" y="83497"/>
                  </a:cubicBezTo>
                  <a:cubicBezTo>
                    <a:pt x="1303367" y="88230"/>
                    <a:pt x="1307197" y="98656"/>
                    <a:pt x="1301750" y="102547"/>
                  </a:cubicBezTo>
                  <a:cubicBezTo>
                    <a:pt x="1290857" y="110328"/>
                    <a:pt x="1263650" y="115247"/>
                    <a:pt x="1263650" y="115247"/>
                  </a:cubicBezTo>
                  <a:cubicBezTo>
                    <a:pt x="1253067" y="113130"/>
                    <a:pt x="1242693" y="108897"/>
                    <a:pt x="1231900" y="108897"/>
                  </a:cubicBezTo>
                  <a:cubicBezTo>
                    <a:pt x="1210628" y="108897"/>
                    <a:pt x="1189610" y="116879"/>
                    <a:pt x="1168400" y="115247"/>
                  </a:cubicBezTo>
                  <a:cubicBezTo>
                    <a:pt x="1160791" y="114662"/>
                    <a:pt x="1156176" y="105960"/>
                    <a:pt x="1149350" y="102547"/>
                  </a:cubicBezTo>
                  <a:cubicBezTo>
                    <a:pt x="1143363" y="99554"/>
                    <a:pt x="1136650" y="98314"/>
                    <a:pt x="1130300" y="96197"/>
                  </a:cubicBezTo>
                  <a:cubicBezTo>
                    <a:pt x="1120417" y="86314"/>
                    <a:pt x="1103854" y="72242"/>
                    <a:pt x="1098550" y="58097"/>
                  </a:cubicBezTo>
                  <a:cubicBezTo>
                    <a:pt x="1081549" y="12760"/>
                    <a:pt x="1107653" y="36649"/>
                    <a:pt x="1073150" y="13647"/>
                  </a:cubicBezTo>
                  <a:cubicBezTo>
                    <a:pt x="1016000" y="32697"/>
                    <a:pt x="1045633" y="11530"/>
                    <a:pt x="1028700" y="45397"/>
                  </a:cubicBezTo>
                  <a:cubicBezTo>
                    <a:pt x="1025287" y="52223"/>
                    <a:pt x="1020233" y="58097"/>
                    <a:pt x="1016000" y="64447"/>
                  </a:cubicBezTo>
                  <a:cubicBezTo>
                    <a:pt x="1031961" y="112330"/>
                    <a:pt x="1010431" y="53308"/>
                    <a:pt x="1035050" y="102547"/>
                  </a:cubicBezTo>
                  <a:cubicBezTo>
                    <a:pt x="1038043" y="108534"/>
                    <a:pt x="1039283" y="115247"/>
                    <a:pt x="1041400" y="121597"/>
                  </a:cubicBezTo>
                  <a:cubicBezTo>
                    <a:pt x="1039283" y="136414"/>
                    <a:pt x="1043085" y="153420"/>
                    <a:pt x="1035050" y="166047"/>
                  </a:cubicBezTo>
                  <a:cubicBezTo>
                    <a:pt x="1026855" y="178924"/>
                    <a:pt x="996950" y="191447"/>
                    <a:pt x="996950" y="191447"/>
                  </a:cubicBezTo>
                  <a:cubicBezTo>
                    <a:pt x="976626" y="160961"/>
                    <a:pt x="982176" y="152393"/>
                    <a:pt x="952500" y="146997"/>
                  </a:cubicBezTo>
                  <a:cubicBezTo>
                    <a:pt x="935710" y="143944"/>
                    <a:pt x="918633" y="142764"/>
                    <a:pt x="901700" y="140647"/>
                  </a:cubicBezTo>
                  <a:cubicBezTo>
                    <a:pt x="895350" y="136414"/>
                    <a:pt x="889476" y="131360"/>
                    <a:pt x="882650" y="127947"/>
                  </a:cubicBezTo>
                  <a:cubicBezTo>
                    <a:pt x="855571" y="114407"/>
                    <a:pt x="841174" y="124089"/>
                    <a:pt x="806450" y="127947"/>
                  </a:cubicBezTo>
                  <a:cubicBezTo>
                    <a:pt x="793750" y="132180"/>
                    <a:pt x="772583" y="132180"/>
                    <a:pt x="793750" y="153347"/>
                  </a:cubicBezTo>
                  <a:cubicBezTo>
                    <a:pt x="804543" y="164140"/>
                    <a:pt x="831850" y="178747"/>
                    <a:pt x="831850" y="178747"/>
                  </a:cubicBezTo>
                  <a:cubicBezTo>
                    <a:pt x="836083" y="185097"/>
                    <a:pt x="844550" y="190165"/>
                    <a:pt x="844550" y="197797"/>
                  </a:cubicBezTo>
                  <a:cubicBezTo>
                    <a:pt x="844550" y="219723"/>
                    <a:pt x="819195" y="220011"/>
                    <a:pt x="806450" y="223197"/>
                  </a:cubicBezTo>
                  <a:cubicBezTo>
                    <a:pt x="799523" y="233588"/>
                    <a:pt x="790094" y="253023"/>
                    <a:pt x="774700" y="254947"/>
                  </a:cubicBezTo>
                  <a:cubicBezTo>
                    <a:pt x="763990" y="256286"/>
                    <a:pt x="753533" y="250714"/>
                    <a:pt x="742950" y="248597"/>
                  </a:cubicBezTo>
                  <a:cubicBezTo>
                    <a:pt x="736600" y="242247"/>
                    <a:pt x="726740" y="238066"/>
                    <a:pt x="723900" y="229547"/>
                  </a:cubicBezTo>
                  <a:cubicBezTo>
                    <a:pt x="721783" y="223197"/>
                    <a:pt x="730250" y="217190"/>
                    <a:pt x="730250" y="210497"/>
                  </a:cubicBezTo>
                  <a:cubicBezTo>
                    <a:pt x="730250" y="198295"/>
                    <a:pt x="721569" y="174343"/>
                    <a:pt x="711200" y="166047"/>
                  </a:cubicBezTo>
                  <a:cubicBezTo>
                    <a:pt x="705973" y="161866"/>
                    <a:pt x="698500" y="161814"/>
                    <a:pt x="692150" y="159697"/>
                  </a:cubicBezTo>
                  <a:cubicBezTo>
                    <a:pt x="675217" y="148408"/>
                    <a:pt x="667213" y="144871"/>
                    <a:pt x="654050" y="127947"/>
                  </a:cubicBezTo>
                  <a:cubicBezTo>
                    <a:pt x="644679" y="115899"/>
                    <a:pt x="641350" y="98314"/>
                    <a:pt x="628650" y="89847"/>
                  </a:cubicBezTo>
                  <a:lnTo>
                    <a:pt x="590550" y="64447"/>
                  </a:lnTo>
                  <a:cubicBezTo>
                    <a:pt x="584200" y="60214"/>
                    <a:pt x="576896" y="57143"/>
                    <a:pt x="571500" y="51747"/>
                  </a:cubicBezTo>
                  <a:lnTo>
                    <a:pt x="552450" y="32697"/>
                  </a:lnTo>
                  <a:cubicBezTo>
                    <a:pt x="545881" y="12989"/>
                    <a:pt x="548163" y="4870"/>
                    <a:pt x="520700" y="947"/>
                  </a:cubicBezTo>
                  <a:cubicBezTo>
                    <a:pt x="514074" y="0"/>
                    <a:pt x="508000" y="5180"/>
                    <a:pt x="501650" y="7297"/>
                  </a:cubicBezTo>
                  <a:cubicBezTo>
                    <a:pt x="497417" y="13647"/>
                    <a:pt x="494346" y="20951"/>
                    <a:pt x="488950" y="26347"/>
                  </a:cubicBezTo>
                  <a:cubicBezTo>
                    <a:pt x="483554" y="31743"/>
                    <a:pt x="473313" y="32221"/>
                    <a:pt x="469900" y="39047"/>
                  </a:cubicBezTo>
                  <a:cubicBezTo>
                    <a:pt x="464142" y="50563"/>
                    <a:pt x="469308" y="65631"/>
                    <a:pt x="463550" y="77147"/>
                  </a:cubicBezTo>
                  <a:cubicBezTo>
                    <a:pt x="460137" y="83973"/>
                    <a:pt x="451474" y="86747"/>
                    <a:pt x="444500" y="89847"/>
                  </a:cubicBezTo>
                  <a:cubicBezTo>
                    <a:pt x="418133" y="101566"/>
                    <a:pt x="401812" y="103465"/>
                    <a:pt x="374650" y="108897"/>
                  </a:cubicBezTo>
                  <a:cubicBezTo>
                    <a:pt x="368300" y="113130"/>
                    <a:pt x="359645" y="115125"/>
                    <a:pt x="355600" y="121597"/>
                  </a:cubicBezTo>
                  <a:cubicBezTo>
                    <a:pt x="348505" y="132949"/>
                    <a:pt x="347133" y="146997"/>
                    <a:pt x="342900" y="159697"/>
                  </a:cubicBezTo>
                  <a:lnTo>
                    <a:pt x="336550" y="178747"/>
                  </a:lnTo>
                  <a:cubicBezTo>
                    <a:pt x="334433" y="185097"/>
                    <a:pt x="323850" y="182980"/>
                    <a:pt x="317500" y="185097"/>
                  </a:cubicBezTo>
                  <a:cubicBezTo>
                    <a:pt x="262905" y="221493"/>
                    <a:pt x="327153" y="173030"/>
                    <a:pt x="292100" y="216847"/>
                  </a:cubicBezTo>
                  <a:cubicBezTo>
                    <a:pt x="283148" y="228037"/>
                    <a:pt x="250888" y="238412"/>
                    <a:pt x="241300" y="242247"/>
                  </a:cubicBezTo>
                  <a:cubicBezTo>
                    <a:pt x="239183" y="263414"/>
                    <a:pt x="239733" y="285020"/>
                    <a:pt x="234950" y="305747"/>
                  </a:cubicBezTo>
                  <a:cubicBezTo>
                    <a:pt x="233234" y="313183"/>
                    <a:pt x="229654" y="322946"/>
                    <a:pt x="222250" y="324797"/>
                  </a:cubicBezTo>
                  <a:cubicBezTo>
                    <a:pt x="209759" y="327920"/>
                    <a:pt x="196850" y="320564"/>
                    <a:pt x="184150" y="318447"/>
                  </a:cubicBezTo>
                  <a:cubicBezTo>
                    <a:pt x="167828" y="313006"/>
                    <a:pt x="157242" y="308936"/>
                    <a:pt x="139700" y="305747"/>
                  </a:cubicBezTo>
                  <a:cubicBezTo>
                    <a:pt x="124974" y="303070"/>
                    <a:pt x="110067" y="301514"/>
                    <a:pt x="95250" y="299397"/>
                  </a:cubicBezTo>
                  <a:cubicBezTo>
                    <a:pt x="76200" y="301514"/>
                    <a:pt x="57006" y="302596"/>
                    <a:pt x="38100" y="305747"/>
                  </a:cubicBezTo>
                  <a:cubicBezTo>
                    <a:pt x="31498" y="306847"/>
                    <a:pt x="24619" y="308384"/>
                    <a:pt x="19050" y="312097"/>
                  </a:cubicBezTo>
                  <a:cubicBezTo>
                    <a:pt x="11578" y="317078"/>
                    <a:pt x="6350" y="324797"/>
                    <a:pt x="0" y="331147"/>
                  </a:cubicBezTo>
                  <a:cubicBezTo>
                    <a:pt x="2117" y="339614"/>
                    <a:pt x="2912" y="348525"/>
                    <a:pt x="6350" y="356547"/>
                  </a:cubicBezTo>
                  <a:cubicBezTo>
                    <a:pt x="9356" y="363562"/>
                    <a:pt x="18103" y="368024"/>
                    <a:pt x="19050" y="375597"/>
                  </a:cubicBezTo>
                  <a:cubicBezTo>
                    <a:pt x="20443" y="386743"/>
                    <a:pt x="10497" y="413957"/>
                    <a:pt x="6350" y="426397"/>
                  </a:cubicBezTo>
                  <a:cubicBezTo>
                    <a:pt x="8690" y="442778"/>
                    <a:pt x="10184" y="472164"/>
                    <a:pt x="19050" y="489897"/>
                  </a:cubicBezTo>
                  <a:cubicBezTo>
                    <a:pt x="30874" y="513546"/>
                    <a:pt x="33245" y="506931"/>
                    <a:pt x="50800" y="527997"/>
                  </a:cubicBezTo>
                  <a:cubicBezTo>
                    <a:pt x="55686" y="533860"/>
                    <a:pt x="59267" y="540697"/>
                    <a:pt x="63500" y="547047"/>
                  </a:cubicBezTo>
                  <a:cubicBezTo>
                    <a:pt x="61383" y="572447"/>
                    <a:pt x="61340" y="598106"/>
                    <a:pt x="57150" y="623247"/>
                  </a:cubicBezTo>
                  <a:cubicBezTo>
                    <a:pt x="42442" y="711495"/>
                    <a:pt x="33867" y="666639"/>
                    <a:pt x="44450" y="67404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6" name="Freeform 25"/>
            <p:cNvSpPr/>
            <p:nvPr>
              <p:custDataLst>
                <p:tags r:id="rId14"/>
              </p:custDataLst>
            </p:nvPr>
          </p:nvSpPr>
          <p:spPr bwMode="gray">
            <a:xfrm>
              <a:off x="3230749" y="4654550"/>
              <a:ext cx="1427969" cy="1585166"/>
            </a:xfrm>
            <a:custGeom>
              <a:avLst/>
              <a:gdLst>
                <a:gd name="connsiteX0" fmla="*/ 457200 w 1427969"/>
                <a:gd name="connsiteY0" fmla="*/ 139700 h 1585166"/>
                <a:gd name="connsiteX1" fmla="*/ 488950 w 1427969"/>
                <a:gd name="connsiteY1" fmla="*/ 222250 h 1585166"/>
                <a:gd name="connsiteX2" fmla="*/ 488950 w 1427969"/>
                <a:gd name="connsiteY2" fmla="*/ 222250 h 1585166"/>
                <a:gd name="connsiteX3" fmla="*/ 508000 w 1427969"/>
                <a:gd name="connsiteY3" fmla="*/ 260350 h 1585166"/>
                <a:gd name="connsiteX4" fmla="*/ 495300 w 1427969"/>
                <a:gd name="connsiteY4" fmla="*/ 304800 h 1585166"/>
                <a:gd name="connsiteX5" fmla="*/ 469900 w 1427969"/>
                <a:gd name="connsiteY5" fmla="*/ 342900 h 1585166"/>
                <a:gd name="connsiteX6" fmla="*/ 450850 w 1427969"/>
                <a:gd name="connsiteY6" fmla="*/ 381000 h 1585166"/>
                <a:gd name="connsiteX7" fmla="*/ 431800 w 1427969"/>
                <a:gd name="connsiteY7" fmla="*/ 387350 h 1585166"/>
                <a:gd name="connsiteX8" fmla="*/ 419100 w 1427969"/>
                <a:gd name="connsiteY8" fmla="*/ 438150 h 1585166"/>
                <a:gd name="connsiteX9" fmla="*/ 412750 w 1427969"/>
                <a:gd name="connsiteY9" fmla="*/ 495300 h 1585166"/>
                <a:gd name="connsiteX10" fmla="*/ 400050 w 1427969"/>
                <a:gd name="connsiteY10" fmla="*/ 533400 h 1585166"/>
                <a:gd name="connsiteX11" fmla="*/ 381000 w 1427969"/>
                <a:gd name="connsiteY11" fmla="*/ 552450 h 1585166"/>
                <a:gd name="connsiteX12" fmla="*/ 355600 w 1427969"/>
                <a:gd name="connsiteY12" fmla="*/ 590550 h 1585166"/>
                <a:gd name="connsiteX13" fmla="*/ 330200 w 1427969"/>
                <a:gd name="connsiteY13" fmla="*/ 628650 h 1585166"/>
                <a:gd name="connsiteX14" fmla="*/ 273050 w 1427969"/>
                <a:gd name="connsiteY14" fmla="*/ 692150 h 1585166"/>
                <a:gd name="connsiteX15" fmla="*/ 254000 w 1427969"/>
                <a:gd name="connsiteY15" fmla="*/ 704850 h 1585166"/>
                <a:gd name="connsiteX16" fmla="*/ 234950 w 1427969"/>
                <a:gd name="connsiteY16" fmla="*/ 711200 h 1585166"/>
                <a:gd name="connsiteX17" fmla="*/ 203200 w 1427969"/>
                <a:gd name="connsiteY17" fmla="*/ 749300 h 1585166"/>
                <a:gd name="connsiteX18" fmla="*/ 171450 w 1427969"/>
                <a:gd name="connsiteY18" fmla="*/ 800100 h 1585166"/>
                <a:gd name="connsiteX19" fmla="*/ 152400 w 1427969"/>
                <a:gd name="connsiteY19" fmla="*/ 838200 h 1585166"/>
                <a:gd name="connsiteX20" fmla="*/ 139700 w 1427969"/>
                <a:gd name="connsiteY20" fmla="*/ 889000 h 1585166"/>
                <a:gd name="connsiteX21" fmla="*/ 133350 w 1427969"/>
                <a:gd name="connsiteY21" fmla="*/ 908050 h 1585166"/>
                <a:gd name="connsiteX22" fmla="*/ 127000 w 1427969"/>
                <a:gd name="connsiteY22" fmla="*/ 965200 h 1585166"/>
                <a:gd name="connsiteX23" fmla="*/ 120650 w 1427969"/>
                <a:gd name="connsiteY23" fmla="*/ 1035050 h 1585166"/>
                <a:gd name="connsiteX24" fmla="*/ 101600 w 1427969"/>
                <a:gd name="connsiteY24" fmla="*/ 1041400 h 1585166"/>
                <a:gd name="connsiteX25" fmla="*/ 82550 w 1427969"/>
                <a:gd name="connsiteY25" fmla="*/ 1079500 h 1585166"/>
                <a:gd name="connsiteX26" fmla="*/ 69850 w 1427969"/>
                <a:gd name="connsiteY26" fmla="*/ 1104900 h 1585166"/>
                <a:gd name="connsiteX27" fmla="*/ 57150 w 1427969"/>
                <a:gd name="connsiteY27" fmla="*/ 1149350 h 1585166"/>
                <a:gd name="connsiteX28" fmla="*/ 44450 w 1427969"/>
                <a:gd name="connsiteY28" fmla="*/ 1168400 h 1585166"/>
                <a:gd name="connsiteX29" fmla="*/ 31750 w 1427969"/>
                <a:gd name="connsiteY29" fmla="*/ 1206500 h 1585166"/>
                <a:gd name="connsiteX30" fmla="*/ 38100 w 1427969"/>
                <a:gd name="connsiteY30" fmla="*/ 1225550 h 1585166"/>
                <a:gd name="connsiteX31" fmla="*/ 57150 w 1427969"/>
                <a:gd name="connsiteY31" fmla="*/ 1238250 h 1585166"/>
                <a:gd name="connsiteX32" fmla="*/ 69850 w 1427969"/>
                <a:gd name="connsiteY32" fmla="*/ 1257300 h 1585166"/>
                <a:gd name="connsiteX33" fmla="*/ 57150 w 1427969"/>
                <a:gd name="connsiteY33" fmla="*/ 1308100 h 1585166"/>
                <a:gd name="connsiteX34" fmla="*/ 38100 w 1427969"/>
                <a:gd name="connsiteY34" fmla="*/ 1333500 h 1585166"/>
                <a:gd name="connsiteX35" fmla="*/ 31750 w 1427969"/>
                <a:gd name="connsiteY35" fmla="*/ 1352550 h 1585166"/>
                <a:gd name="connsiteX36" fmla="*/ 19050 w 1427969"/>
                <a:gd name="connsiteY36" fmla="*/ 1371600 h 1585166"/>
                <a:gd name="connsiteX37" fmla="*/ 12700 w 1427969"/>
                <a:gd name="connsiteY37" fmla="*/ 1397000 h 1585166"/>
                <a:gd name="connsiteX38" fmla="*/ 19050 w 1427969"/>
                <a:gd name="connsiteY38" fmla="*/ 1416050 h 1585166"/>
                <a:gd name="connsiteX39" fmla="*/ 0 w 1427969"/>
                <a:gd name="connsiteY39" fmla="*/ 1454150 h 1585166"/>
                <a:gd name="connsiteX40" fmla="*/ 44450 w 1427969"/>
                <a:gd name="connsiteY40" fmla="*/ 1530350 h 1585166"/>
                <a:gd name="connsiteX41" fmla="*/ 82550 w 1427969"/>
                <a:gd name="connsiteY41" fmla="*/ 1555750 h 1585166"/>
                <a:gd name="connsiteX42" fmla="*/ 88900 w 1427969"/>
                <a:gd name="connsiteY42" fmla="*/ 1581150 h 1585166"/>
                <a:gd name="connsiteX43" fmla="*/ 107950 w 1427969"/>
                <a:gd name="connsiteY43" fmla="*/ 1574800 h 1585166"/>
                <a:gd name="connsiteX44" fmla="*/ 152400 w 1427969"/>
                <a:gd name="connsiteY44" fmla="*/ 1549400 h 1585166"/>
                <a:gd name="connsiteX45" fmla="*/ 171450 w 1427969"/>
                <a:gd name="connsiteY45" fmla="*/ 1543050 h 1585166"/>
                <a:gd name="connsiteX46" fmla="*/ 203200 w 1427969"/>
                <a:gd name="connsiteY46" fmla="*/ 1549400 h 1585166"/>
                <a:gd name="connsiteX47" fmla="*/ 222250 w 1427969"/>
                <a:gd name="connsiteY47" fmla="*/ 1562100 h 1585166"/>
                <a:gd name="connsiteX48" fmla="*/ 266700 w 1427969"/>
                <a:gd name="connsiteY48" fmla="*/ 1555750 h 1585166"/>
                <a:gd name="connsiteX49" fmla="*/ 304800 w 1427969"/>
                <a:gd name="connsiteY49" fmla="*/ 1530350 h 1585166"/>
                <a:gd name="connsiteX50" fmla="*/ 342900 w 1427969"/>
                <a:gd name="connsiteY50" fmla="*/ 1517650 h 1585166"/>
                <a:gd name="connsiteX51" fmla="*/ 374650 w 1427969"/>
                <a:gd name="connsiteY51" fmla="*/ 1524000 h 1585166"/>
                <a:gd name="connsiteX52" fmla="*/ 381000 w 1427969"/>
                <a:gd name="connsiteY52" fmla="*/ 1543050 h 1585166"/>
                <a:gd name="connsiteX53" fmla="*/ 419100 w 1427969"/>
                <a:gd name="connsiteY53" fmla="*/ 1568450 h 1585166"/>
                <a:gd name="connsiteX54" fmla="*/ 482600 w 1427969"/>
                <a:gd name="connsiteY54" fmla="*/ 1543050 h 1585166"/>
                <a:gd name="connsiteX55" fmla="*/ 476250 w 1427969"/>
                <a:gd name="connsiteY55" fmla="*/ 1524000 h 1585166"/>
                <a:gd name="connsiteX56" fmla="*/ 501650 w 1427969"/>
                <a:gd name="connsiteY56" fmla="*/ 1517650 h 1585166"/>
                <a:gd name="connsiteX57" fmla="*/ 520700 w 1427969"/>
                <a:gd name="connsiteY57" fmla="*/ 1511300 h 1585166"/>
                <a:gd name="connsiteX58" fmla="*/ 495300 w 1427969"/>
                <a:gd name="connsiteY58" fmla="*/ 1479550 h 1585166"/>
                <a:gd name="connsiteX59" fmla="*/ 431800 w 1427969"/>
                <a:gd name="connsiteY59" fmla="*/ 1479550 h 1585166"/>
                <a:gd name="connsiteX60" fmla="*/ 425450 w 1427969"/>
                <a:gd name="connsiteY60" fmla="*/ 1460500 h 1585166"/>
                <a:gd name="connsiteX61" fmla="*/ 482600 w 1427969"/>
                <a:gd name="connsiteY61" fmla="*/ 1435100 h 1585166"/>
                <a:gd name="connsiteX62" fmla="*/ 501650 w 1427969"/>
                <a:gd name="connsiteY62" fmla="*/ 1428750 h 1585166"/>
                <a:gd name="connsiteX63" fmla="*/ 508000 w 1427969"/>
                <a:gd name="connsiteY63" fmla="*/ 1409700 h 1585166"/>
                <a:gd name="connsiteX64" fmla="*/ 552450 w 1427969"/>
                <a:gd name="connsiteY64" fmla="*/ 1409700 h 1585166"/>
                <a:gd name="connsiteX65" fmla="*/ 571500 w 1427969"/>
                <a:gd name="connsiteY65" fmla="*/ 1435100 h 1585166"/>
                <a:gd name="connsiteX66" fmla="*/ 571500 w 1427969"/>
                <a:gd name="connsiteY66" fmla="*/ 1473200 h 1585166"/>
                <a:gd name="connsiteX67" fmla="*/ 590550 w 1427969"/>
                <a:gd name="connsiteY67" fmla="*/ 1479550 h 1585166"/>
                <a:gd name="connsiteX68" fmla="*/ 666750 w 1427969"/>
                <a:gd name="connsiteY68" fmla="*/ 1492250 h 1585166"/>
                <a:gd name="connsiteX69" fmla="*/ 685800 w 1427969"/>
                <a:gd name="connsiteY69" fmla="*/ 1498600 h 1585166"/>
                <a:gd name="connsiteX70" fmla="*/ 704850 w 1427969"/>
                <a:gd name="connsiteY70" fmla="*/ 1485900 h 1585166"/>
                <a:gd name="connsiteX71" fmla="*/ 730250 w 1427969"/>
                <a:gd name="connsiteY71" fmla="*/ 1479550 h 1585166"/>
                <a:gd name="connsiteX72" fmla="*/ 762000 w 1427969"/>
                <a:gd name="connsiteY72" fmla="*/ 1485900 h 1585166"/>
                <a:gd name="connsiteX73" fmla="*/ 800100 w 1427969"/>
                <a:gd name="connsiteY73" fmla="*/ 1498600 h 1585166"/>
                <a:gd name="connsiteX74" fmla="*/ 806450 w 1427969"/>
                <a:gd name="connsiteY74" fmla="*/ 1479550 h 1585166"/>
                <a:gd name="connsiteX75" fmla="*/ 800100 w 1427969"/>
                <a:gd name="connsiteY75" fmla="*/ 1460500 h 1585166"/>
                <a:gd name="connsiteX76" fmla="*/ 762000 w 1427969"/>
                <a:gd name="connsiteY76" fmla="*/ 1428750 h 1585166"/>
                <a:gd name="connsiteX77" fmla="*/ 742950 w 1427969"/>
                <a:gd name="connsiteY77" fmla="*/ 1390650 h 1585166"/>
                <a:gd name="connsiteX78" fmla="*/ 768350 w 1427969"/>
                <a:gd name="connsiteY78" fmla="*/ 1377950 h 1585166"/>
                <a:gd name="connsiteX79" fmla="*/ 806450 w 1427969"/>
                <a:gd name="connsiteY79" fmla="*/ 1416050 h 1585166"/>
                <a:gd name="connsiteX80" fmla="*/ 819150 w 1427969"/>
                <a:gd name="connsiteY80" fmla="*/ 1454150 h 1585166"/>
                <a:gd name="connsiteX81" fmla="*/ 831850 w 1427969"/>
                <a:gd name="connsiteY81" fmla="*/ 1473200 h 1585166"/>
                <a:gd name="connsiteX82" fmla="*/ 869950 w 1427969"/>
                <a:gd name="connsiteY82" fmla="*/ 1498600 h 1585166"/>
                <a:gd name="connsiteX83" fmla="*/ 914400 w 1427969"/>
                <a:gd name="connsiteY83" fmla="*/ 1485900 h 1585166"/>
                <a:gd name="connsiteX84" fmla="*/ 946150 w 1427969"/>
                <a:gd name="connsiteY84" fmla="*/ 1492250 h 1585166"/>
                <a:gd name="connsiteX85" fmla="*/ 952500 w 1427969"/>
                <a:gd name="connsiteY85" fmla="*/ 1511300 h 1585166"/>
                <a:gd name="connsiteX86" fmla="*/ 958850 w 1427969"/>
                <a:gd name="connsiteY86" fmla="*/ 1543050 h 1585166"/>
                <a:gd name="connsiteX87" fmla="*/ 977900 w 1427969"/>
                <a:gd name="connsiteY87" fmla="*/ 1549400 h 1585166"/>
                <a:gd name="connsiteX88" fmla="*/ 1028700 w 1427969"/>
                <a:gd name="connsiteY88" fmla="*/ 1555750 h 1585166"/>
                <a:gd name="connsiteX89" fmla="*/ 1047750 w 1427969"/>
                <a:gd name="connsiteY89" fmla="*/ 1536700 h 1585166"/>
                <a:gd name="connsiteX90" fmla="*/ 1085850 w 1427969"/>
                <a:gd name="connsiteY90" fmla="*/ 1524000 h 1585166"/>
                <a:gd name="connsiteX91" fmla="*/ 1181100 w 1427969"/>
                <a:gd name="connsiteY91" fmla="*/ 1511300 h 1585166"/>
                <a:gd name="connsiteX92" fmla="*/ 1219200 w 1427969"/>
                <a:gd name="connsiteY92" fmla="*/ 1492250 h 1585166"/>
                <a:gd name="connsiteX93" fmla="*/ 1231900 w 1427969"/>
                <a:gd name="connsiteY93" fmla="*/ 1473200 h 1585166"/>
                <a:gd name="connsiteX94" fmla="*/ 1238250 w 1427969"/>
                <a:gd name="connsiteY94" fmla="*/ 1435100 h 1585166"/>
                <a:gd name="connsiteX95" fmla="*/ 1244600 w 1427969"/>
                <a:gd name="connsiteY95" fmla="*/ 1416050 h 1585166"/>
                <a:gd name="connsiteX96" fmla="*/ 1250950 w 1427969"/>
                <a:gd name="connsiteY96" fmla="*/ 1371600 h 1585166"/>
                <a:gd name="connsiteX97" fmla="*/ 1238250 w 1427969"/>
                <a:gd name="connsiteY97" fmla="*/ 1333500 h 1585166"/>
                <a:gd name="connsiteX98" fmla="*/ 1231900 w 1427969"/>
                <a:gd name="connsiteY98" fmla="*/ 1314450 h 1585166"/>
                <a:gd name="connsiteX99" fmla="*/ 1238250 w 1427969"/>
                <a:gd name="connsiteY99" fmla="*/ 1244600 h 1585166"/>
                <a:gd name="connsiteX100" fmla="*/ 1250950 w 1427969"/>
                <a:gd name="connsiteY100" fmla="*/ 1206500 h 1585166"/>
                <a:gd name="connsiteX101" fmla="*/ 1231900 w 1427969"/>
                <a:gd name="connsiteY101" fmla="*/ 1168400 h 1585166"/>
                <a:gd name="connsiteX102" fmla="*/ 1219200 w 1427969"/>
                <a:gd name="connsiteY102" fmla="*/ 1117600 h 1585166"/>
                <a:gd name="connsiteX103" fmla="*/ 1206500 w 1427969"/>
                <a:gd name="connsiteY103" fmla="*/ 1073150 h 1585166"/>
                <a:gd name="connsiteX104" fmla="*/ 1200150 w 1427969"/>
                <a:gd name="connsiteY104" fmla="*/ 996950 h 1585166"/>
                <a:gd name="connsiteX105" fmla="*/ 1200150 w 1427969"/>
                <a:gd name="connsiteY105" fmla="*/ 946150 h 1585166"/>
                <a:gd name="connsiteX106" fmla="*/ 1219200 w 1427969"/>
                <a:gd name="connsiteY106" fmla="*/ 933450 h 1585166"/>
                <a:gd name="connsiteX107" fmla="*/ 1257300 w 1427969"/>
                <a:gd name="connsiteY107" fmla="*/ 920750 h 1585166"/>
                <a:gd name="connsiteX108" fmla="*/ 1308100 w 1427969"/>
                <a:gd name="connsiteY108" fmla="*/ 908050 h 1585166"/>
                <a:gd name="connsiteX109" fmla="*/ 1327150 w 1427969"/>
                <a:gd name="connsiteY109" fmla="*/ 869950 h 1585166"/>
                <a:gd name="connsiteX110" fmla="*/ 1314450 w 1427969"/>
                <a:gd name="connsiteY110" fmla="*/ 844550 h 1585166"/>
                <a:gd name="connsiteX111" fmla="*/ 1295400 w 1427969"/>
                <a:gd name="connsiteY111" fmla="*/ 806450 h 1585166"/>
                <a:gd name="connsiteX112" fmla="*/ 1301750 w 1427969"/>
                <a:gd name="connsiteY112" fmla="*/ 787400 h 1585166"/>
                <a:gd name="connsiteX113" fmla="*/ 1358900 w 1427969"/>
                <a:gd name="connsiteY113" fmla="*/ 787400 h 1585166"/>
                <a:gd name="connsiteX114" fmla="*/ 1397000 w 1427969"/>
                <a:gd name="connsiteY114" fmla="*/ 800100 h 1585166"/>
                <a:gd name="connsiteX115" fmla="*/ 1422400 w 1427969"/>
                <a:gd name="connsiteY115" fmla="*/ 762000 h 1585166"/>
                <a:gd name="connsiteX116" fmla="*/ 1403350 w 1427969"/>
                <a:gd name="connsiteY116" fmla="*/ 723900 h 1585166"/>
                <a:gd name="connsiteX117" fmla="*/ 1397000 w 1427969"/>
                <a:gd name="connsiteY117" fmla="*/ 704850 h 1585166"/>
                <a:gd name="connsiteX118" fmla="*/ 1384300 w 1427969"/>
                <a:gd name="connsiteY118" fmla="*/ 590550 h 1585166"/>
                <a:gd name="connsiteX119" fmla="*/ 1377950 w 1427969"/>
                <a:gd name="connsiteY119" fmla="*/ 571500 h 1585166"/>
                <a:gd name="connsiteX120" fmla="*/ 1339850 w 1427969"/>
                <a:gd name="connsiteY120" fmla="*/ 546100 h 1585166"/>
                <a:gd name="connsiteX121" fmla="*/ 1301750 w 1427969"/>
                <a:gd name="connsiteY121" fmla="*/ 488950 h 1585166"/>
                <a:gd name="connsiteX122" fmla="*/ 1289050 w 1427969"/>
                <a:gd name="connsiteY122" fmla="*/ 444500 h 1585166"/>
                <a:gd name="connsiteX123" fmla="*/ 1270000 w 1427969"/>
                <a:gd name="connsiteY123" fmla="*/ 406400 h 1585166"/>
                <a:gd name="connsiteX124" fmla="*/ 1250950 w 1427969"/>
                <a:gd name="connsiteY124" fmla="*/ 349250 h 1585166"/>
                <a:gd name="connsiteX125" fmla="*/ 1244600 w 1427969"/>
                <a:gd name="connsiteY125" fmla="*/ 330200 h 1585166"/>
                <a:gd name="connsiteX126" fmla="*/ 1238250 w 1427969"/>
                <a:gd name="connsiteY126" fmla="*/ 215900 h 1585166"/>
                <a:gd name="connsiteX127" fmla="*/ 1219200 w 1427969"/>
                <a:gd name="connsiteY127" fmla="*/ 203200 h 1585166"/>
                <a:gd name="connsiteX128" fmla="*/ 1193800 w 1427969"/>
                <a:gd name="connsiteY128" fmla="*/ 209550 h 1585166"/>
                <a:gd name="connsiteX129" fmla="*/ 1155700 w 1427969"/>
                <a:gd name="connsiteY129" fmla="*/ 209550 h 1585166"/>
                <a:gd name="connsiteX130" fmla="*/ 1149350 w 1427969"/>
                <a:gd name="connsiteY130" fmla="*/ 184150 h 1585166"/>
                <a:gd name="connsiteX131" fmla="*/ 1143000 w 1427969"/>
                <a:gd name="connsiteY131" fmla="*/ 165100 h 1585166"/>
                <a:gd name="connsiteX132" fmla="*/ 1130300 w 1427969"/>
                <a:gd name="connsiteY132" fmla="*/ 120650 h 1585166"/>
                <a:gd name="connsiteX133" fmla="*/ 1117600 w 1427969"/>
                <a:gd name="connsiteY133" fmla="*/ 101600 h 1585166"/>
                <a:gd name="connsiteX134" fmla="*/ 1085850 w 1427969"/>
                <a:gd name="connsiteY134" fmla="*/ 50800 h 1585166"/>
                <a:gd name="connsiteX135" fmla="*/ 1028700 w 1427969"/>
                <a:gd name="connsiteY135" fmla="*/ 57150 h 1585166"/>
                <a:gd name="connsiteX136" fmla="*/ 1016000 w 1427969"/>
                <a:gd name="connsiteY136" fmla="*/ 38100 h 1585166"/>
                <a:gd name="connsiteX137" fmla="*/ 1009650 w 1427969"/>
                <a:gd name="connsiteY137" fmla="*/ 12700 h 1585166"/>
                <a:gd name="connsiteX138" fmla="*/ 990600 w 1427969"/>
                <a:gd name="connsiteY138" fmla="*/ 6350 h 1585166"/>
                <a:gd name="connsiteX139" fmla="*/ 920750 w 1427969"/>
                <a:gd name="connsiteY139" fmla="*/ 0 h 1585166"/>
                <a:gd name="connsiteX140" fmla="*/ 889000 w 1427969"/>
                <a:gd name="connsiteY140" fmla="*/ 6350 h 1585166"/>
                <a:gd name="connsiteX141" fmla="*/ 889000 w 1427969"/>
                <a:gd name="connsiteY141" fmla="*/ 50800 h 1585166"/>
                <a:gd name="connsiteX142" fmla="*/ 908050 w 1427969"/>
                <a:gd name="connsiteY142" fmla="*/ 57150 h 1585166"/>
                <a:gd name="connsiteX143" fmla="*/ 914400 w 1427969"/>
                <a:gd name="connsiteY143" fmla="*/ 76200 h 1585166"/>
                <a:gd name="connsiteX144" fmla="*/ 876300 w 1427969"/>
                <a:gd name="connsiteY144" fmla="*/ 95250 h 1585166"/>
                <a:gd name="connsiteX145" fmla="*/ 857250 w 1427969"/>
                <a:gd name="connsiteY145" fmla="*/ 107950 h 1585166"/>
                <a:gd name="connsiteX146" fmla="*/ 831850 w 1427969"/>
                <a:gd name="connsiteY146" fmla="*/ 139700 h 1585166"/>
                <a:gd name="connsiteX147" fmla="*/ 774700 w 1427969"/>
                <a:gd name="connsiteY147" fmla="*/ 152400 h 1585166"/>
                <a:gd name="connsiteX148" fmla="*/ 781050 w 1427969"/>
                <a:gd name="connsiteY148" fmla="*/ 171450 h 1585166"/>
                <a:gd name="connsiteX149" fmla="*/ 774700 w 1427969"/>
                <a:gd name="connsiteY149" fmla="*/ 196850 h 1585166"/>
                <a:gd name="connsiteX150" fmla="*/ 749300 w 1427969"/>
                <a:gd name="connsiteY150" fmla="*/ 203200 h 1585166"/>
                <a:gd name="connsiteX151" fmla="*/ 711200 w 1427969"/>
                <a:gd name="connsiteY151" fmla="*/ 209550 h 1585166"/>
                <a:gd name="connsiteX152" fmla="*/ 660400 w 1427969"/>
                <a:gd name="connsiteY152" fmla="*/ 203200 h 1585166"/>
                <a:gd name="connsiteX153" fmla="*/ 622300 w 1427969"/>
                <a:gd name="connsiteY153" fmla="*/ 177800 h 1585166"/>
                <a:gd name="connsiteX154" fmla="*/ 603250 w 1427969"/>
                <a:gd name="connsiteY154" fmla="*/ 171450 h 1585166"/>
                <a:gd name="connsiteX155" fmla="*/ 577850 w 1427969"/>
                <a:gd name="connsiteY155" fmla="*/ 114300 h 1585166"/>
                <a:gd name="connsiteX156" fmla="*/ 552450 w 1427969"/>
                <a:gd name="connsiteY156" fmla="*/ 101600 h 1585166"/>
                <a:gd name="connsiteX157" fmla="*/ 539750 w 1427969"/>
                <a:gd name="connsiteY157" fmla="*/ 120650 h 1585166"/>
                <a:gd name="connsiteX158" fmla="*/ 565150 w 1427969"/>
                <a:gd name="connsiteY158" fmla="*/ 158750 h 1585166"/>
                <a:gd name="connsiteX159" fmla="*/ 552450 w 1427969"/>
                <a:gd name="connsiteY159" fmla="*/ 177800 h 1585166"/>
                <a:gd name="connsiteX160" fmla="*/ 514350 w 1427969"/>
                <a:gd name="connsiteY160" fmla="*/ 158750 h 1585166"/>
                <a:gd name="connsiteX161" fmla="*/ 482600 w 1427969"/>
                <a:gd name="connsiteY161" fmla="*/ 152400 h 1585166"/>
                <a:gd name="connsiteX162" fmla="*/ 463550 w 1427969"/>
                <a:gd name="connsiteY162" fmla="*/ 146050 h 1585166"/>
                <a:gd name="connsiteX163" fmla="*/ 457200 w 1427969"/>
                <a:gd name="connsiteY163" fmla="*/ 139700 h 158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427969" h="1585166">
                  <a:moveTo>
                    <a:pt x="457200" y="139700"/>
                  </a:moveTo>
                  <a:cubicBezTo>
                    <a:pt x="467263" y="190014"/>
                    <a:pt x="458723" y="161797"/>
                    <a:pt x="488950" y="222250"/>
                  </a:cubicBezTo>
                  <a:lnTo>
                    <a:pt x="488950" y="222250"/>
                  </a:lnTo>
                  <a:cubicBezTo>
                    <a:pt x="497713" y="248540"/>
                    <a:pt x="491587" y="235731"/>
                    <a:pt x="508000" y="260350"/>
                  </a:cubicBezTo>
                  <a:cubicBezTo>
                    <a:pt x="506505" y="266329"/>
                    <a:pt x="499441" y="297347"/>
                    <a:pt x="495300" y="304800"/>
                  </a:cubicBezTo>
                  <a:cubicBezTo>
                    <a:pt x="487887" y="318143"/>
                    <a:pt x="478367" y="330200"/>
                    <a:pt x="469900" y="342900"/>
                  </a:cubicBezTo>
                  <a:cubicBezTo>
                    <a:pt x="456753" y="362620"/>
                    <a:pt x="472261" y="363871"/>
                    <a:pt x="450850" y="381000"/>
                  </a:cubicBezTo>
                  <a:cubicBezTo>
                    <a:pt x="445623" y="385181"/>
                    <a:pt x="438150" y="385233"/>
                    <a:pt x="431800" y="387350"/>
                  </a:cubicBezTo>
                  <a:cubicBezTo>
                    <a:pt x="424413" y="409511"/>
                    <a:pt x="422931" y="411331"/>
                    <a:pt x="419100" y="438150"/>
                  </a:cubicBezTo>
                  <a:cubicBezTo>
                    <a:pt x="416389" y="457125"/>
                    <a:pt x="416509" y="476505"/>
                    <a:pt x="412750" y="495300"/>
                  </a:cubicBezTo>
                  <a:cubicBezTo>
                    <a:pt x="410125" y="508427"/>
                    <a:pt x="409516" y="523934"/>
                    <a:pt x="400050" y="533400"/>
                  </a:cubicBezTo>
                  <a:lnTo>
                    <a:pt x="381000" y="552450"/>
                  </a:lnTo>
                  <a:cubicBezTo>
                    <a:pt x="368856" y="588883"/>
                    <a:pt x="383347" y="554875"/>
                    <a:pt x="355600" y="590550"/>
                  </a:cubicBezTo>
                  <a:cubicBezTo>
                    <a:pt x="346229" y="602598"/>
                    <a:pt x="339358" y="616439"/>
                    <a:pt x="330200" y="628650"/>
                  </a:cubicBezTo>
                  <a:cubicBezTo>
                    <a:pt x="300374" y="668418"/>
                    <a:pt x="318634" y="646566"/>
                    <a:pt x="273050" y="692150"/>
                  </a:cubicBezTo>
                  <a:cubicBezTo>
                    <a:pt x="267654" y="697546"/>
                    <a:pt x="260826" y="701437"/>
                    <a:pt x="254000" y="704850"/>
                  </a:cubicBezTo>
                  <a:cubicBezTo>
                    <a:pt x="248013" y="707843"/>
                    <a:pt x="241300" y="709083"/>
                    <a:pt x="234950" y="711200"/>
                  </a:cubicBezTo>
                  <a:cubicBezTo>
                    <a:pt x="222987" y="723163"/>
                    <a:pt x="210273" y="733387"/>
                    <a:pt x="203200" y="749300"/>
                  </a:cubicBezTo>
                  <a:cubicBezTo>
                    <a:pt x="180928" y="799413"/>
                    <a:pt x="205720" y="777253"/>
                    <a:pt x="171450" y="800100"/>
                  </a:cubicBezTo>
                  <a:cubicBezTo>
                    <a:pt x="155489" y="847983"/>
                    <a:pt x="177019" y="788961"/>
                    <a:pt x="152400" y="838200"/>
                  </a:cubicBezTo>
                  <a:cubicBezTo>
                    <a:pt x="145142" y="852715"/>
                    <a:pt x="143323" y="874509"/>
                    <a:pt x="139700" y="889000"/>
                  </a:cubicBezTo>
                  <a:cubicBezTo>
                    <a:pt x="138077" y="895494"/>
                    <a:pt x="135467" y="901700"/>
                    <a:pt x="133350" y="908050"/>
                  </a:cubicBezTo>
                  <a:cubicBezTo>
                    <a:pt x="131233" y="927100"/>
                    <a:pt x="128907" y="946128"/>
                    <a:pt x="127000" y="965200"/>
                  </a:cubicBezTo>
                  <a:cubicBezTo>
                    <a:pt x="124674" y="988463"/>
                    <a:pt x="128043" y="1012870"/>
                    <a:pt x="120650" y="1035050"/>
                  </a:cubicBezTo>
                  <a:cubicBezTo>
                    <a:pt x="118533" y="1041400"/>
                    <a:pt x="107950" y="1039283"/>
                    <a:pt x="101600" y="1041400"/>
                  </a:cubicBezTo>
                  <a:cubicBezTo>
                    <a:pt x="77194" y="1078009"/>
                    <a:pt x="98324" y="1042694"/>
                    <a:pt x="82550" y="1079500"/>
                  </a:cubicBezTo>
                  <a:cubicBezTo>
                    <a:pt x="78821" y="1088201"/>
                    <a:pt x="73174" y="1096037"/>
                    <a:pt x="69850" y="1104900"/>
                  </a:cubicBezTo>
                  <a:cubicBezTo>
                    <a:pt x="63746" y="1121176"/>
                    <a:pt x="64826" y="1133998"/>
                    <a:pt x="57150" y="1149350"/>
                  </a:cubicBezTo>
                  <a:cubicBezTo>
                    <a:pt x="53737" y="1156176"/>
                    <a:pt x="47550" y="1161426"/>
                    <a:pt x="44450" y="1168400"/>
                  </a:cubicBezTo>
                  <a:cubicBezTo>
                    <a:pt x="39013" y="1180633"/>
                    <a:pt x="31750" y="1206500"/>
                    <a:pt x="31750" y="1206500"/>
                  </a:cubicBezTo>
                  <a:cubicBezTo>
                    <a:pt x="33867" y="1212850"/>
                    <a:pt x="33919" y="1220323"/>
                    <a:pt x="38100" y="1225550"/>
                  </a:cubicBezTo>
                  <a:cubicBezTo>
                    <a:pt x="42868" y="1231509"/>
                    <a:pt x="51754" y="1232854"/>
                    <a:pt x="57150" y="1238250"/>
                  </a:cubicBezTo>
                  <a:cubicBezTo>
                    <a:pt x="62546" y="1243646"/>
                    <a:pt x="65617" y="1250950"/>
                    <a:pt x="69850" y="1257300"/>
                  </a:cubicBezTo>
                  <a:cubicBezTo>
                    <a:pt x="68242" y="1265340"/>
                    <a:pt x="63158" y="1297586"/>
                    <a:pt x="57150" y="1308100"/>
                  </a:cubicBezTo>
                  <a:cubicBezTo>
                    <a:pt x="51899" y="1317289"/>
                    <a:pt x="44450" y="1325033"/>
                    <a:pt x="38100" y="1333500"/>
                  </a:cubicBezTo>
                  <a:cubicBezTo>
                    <a:pt x="35983" y="1339850"/>
                    <a:pt x="34743" y="1346563"/>
                    <a:pt x="31750" y="1352550"/>
                  </a:cubicBezTo>
                  <a:cubicBezTo>
                    <a:pt x="28337" y="1359376"/>
                    <a:pt x="22056" y="1364585"/>
                    <a:pt x="19050" y="1371600"/>
                  </a:cubicBezTo>
                  <a:cubicBezTo>
                    <a:pt x="15612" y="1379622"/>
                    <a:pt x="14817" y="1388533"/>
                    <a:pt x="12700" y="1397000"/>
                  </a:cubicBezTo>
                  <a:cubicBezTo>
                    <a:pt x="14817" y="1403350"/>
                    <a:pt x="19050" y="1409357"/>
                    <a:pt x="19050" y="1416050"/>
                  </a:cubicBezTo>
                  <a:cubicBezTo>
                    <a:pt x="19050" y="1429195"/>
                    <a:pt x="6421" y="1444518"/>
                    <a:pt x="0" y="1454150"/>
                  </a:cubicBezTo>
                  <a:cubicBezTo>
                    <a:pt x="7188" y="1497277"/>
                    <a:pt x="196" y="1500847"/>
                    <a:pt x="44450" y="1530350"/>
                  </a:cubicBezTo>
                  <a:lnTo>
                    <a:pt x="82550" y="1555750"/>
                  </a:lnTo>
                  <a:cubicBezTo>
                    <a:pt x="84667" y="1564217"/>
                    <a:pt x="81918" y="1575914"/>
                    <a:pt x="88900" y="1581150"/>
                  </a:cubicBezTo>
                  <a:cubicBezTo>
                    <a:pt x="94255" y="1585166"/>
                    <a:pt x="101798" y="1577437"/>
                    <a:pt x="107950" y="1574800"/>
                  </a:cubicBezTo>
                  <a:cubicBezTo>
                    <a:pt x="185878" y="1541402"/>
                    <a:pt x="88627" y="1581286"/>
                    <a:pt x="152400" y="1549400"/>
                  </a:cubicBezTo>
                  <a:cubicBezTo>
                    <a:pt x="158387" y="1546407"/>
                    <a:pt x="165100" y="1545167"/>
                    <a:pt x="171450" y="1543050"/>
                  </a:cubicBezTo>
                  <a:cubicBezTo>
                    <a:pt x="182033" y="1545167"/>
                    <a:pt x="193094" y="1545610"/>
                    <a:pt x="203200" y="1549400"/>
                  </a:cubicBezTo>
                  <a:cubicBezTo>
                    <a:pt x="210346" y="1552080"/>
                    <a:pt x="214656" y="1561341"/>
                    <a:pt x="222250" y="1562100"/>
                  </a:cubicBezTo>
                  <a:cubicBezTo>
                    <a:pt x="237143" y="1563589"/>
                    <a:pt x="251883" y="1557867"/>
                    <a:pt x="266700" y="1555750"/>
                  </a:cubicBezTo>
                  <a:cubicBezTo>
                    <a:pt x="329723" y="1534742"/>
                    <a:pt x="233451" y="1569988"/>
                    <a:pt x="304800" y="1530350"/>
                  </a:cubicBezTo>
                  <a:cubicBezTo>
                    <a:pt x="316502" y="1523849"/>
                    <a:pt x="342900" y="1517650"/>
                    <a:pt x="342900" y="1517650"/>
                  </a:cubicBezTo>
                  <a:cubicBezTo>
                    <a:pt x="353483" y="1519767"/>
                    <a:pt x="365670" y="1518013"/>
                    <a:pt x="374650" y="1524000"/>
                  </a:cubicBezTo>
                  <a:cubicBezTo>
                    <a:pt x="380219" y="1527713"/>
                    <a:pt x="376267" y="1538317"/>
                    <a:pt x="381000" y="1543050"/>
                  </a:cubicBezTo>
                  <a:cubicBezTo>
                    <a:pt x="391793" y="1553843"/>
                    <a:pt x="419100" y="1568450"/>
                    <a:pt x="419100" y="1568450"/>
                  </a:cubicBezTo>
                  <a:cubicBezTo>
                    <a:pt x="439508" y="1565899"/>
                    <a:pt x="477412" y="1574177"/>
                    <a:pt x="482600" y="1543050"/>
                  </a:cubicBezTo>
                  <a:cubicBezTo>
                    <a:pt x="483700" y="1536448"/>
                    <a:pt x="478367" y="1530350"/>
                    <a:pt x="476250" y="1524000"/>
                  </a:cubicBezTo>
                  <a:cubicBezTo>
                    <a:pt x="484717" y="1521883"/>
                    <a:pt x="493259" y="1520048"/>
                    <a:pt x="501650" y="1517650"/>
                  </a:cubicBezTo>
                  <a:cubicBezTo>
                    <a:pt x="508086" y="1515811"/>
                    <a:pt x="518214" y="1517515"/>
                    <a:pt x="520700" y="1511300"/>
                  </a:cubicBezTo>
                  <a:cubicBezTo>
                    <a:pt x="531019" y="1485504"/>
                    <a:pt x="508600" y="1483983"/>
                    <a:pt x="495300" y="1479550"/>
                  </a:cubicBezTo>
                  <a:cubicBezTo>
                    <a:pt x="473010" y="1485122"/>
                    <a:pt x="455493" y="1493089"/>
                    <a:pt x="431800" y="1479550"/>
                  </a:cubicBezTo>
                  <a:cubicBezTo>
                    <a:pt x="425988" y="1476229"/>
                    <a:pt x="427567" y="1466850"/>
                    <a:pt x="425450" y="1460500"/>
                  </a:cubicBezTo>
                  <a:cubicBezTo>
                    <a:pt x="455639" y="1440374"/>
                    <a:pt x="437260" y="1450213"/>
                    <a:pt x="482600" y="1435100"/>
                  </a:cubicBezTo>
                  <a:lnTo>
                    <a:pt x="501650" y="1428750"/>
                  </a:lnTo>
                  <a:cubicBezTo>
                    <a:pt x="503767" y="1422400"/>
                    <a:pt x="503267" y="1414433"/>
                    <a:pt x="508000" y="1409700"/>
                  </a:cubicBezTo>
                  <a:cubicBezTo>
                    <a:pt x="520754" y="1396946"/>
                    <a:pt x="539561" y="1406478"/>
                    <a:pt x="552450" y="1409700"/>
                  </a:cubicBezTo>
                  <a:cubicBezTo>
                    <a:pt x="558800" y="1418167"/>
                    <a:pt x="568593" y="1424924"/>
                    <a:pt x="571500" y="1435100"/>
                  </a:cubicBezTo>
                  <a:cubicBezTo>
                    <a:pt x="578273" y="1458807"/>
                    <a:pt x="547793" y="1449493"/>
                    <a:pt x="571500" y="1473200"/>
                  </a:cubicBezTo>
                  <a:cubicBezTo>
                    <a:pt x="576233" y="1477933"/>
                    <a:pt x="584114" y="1477711"/>
                    <a:pt x="590550" y="1479550"/>
                  </a:cubicBezTo>
                  <a:cubicBezTo>
                    <a:pt x="623182" y="1488873"/>
                    <a:pt x="625521" y="1487096"/>
                    <a:pt x="666750" y="1492250"/>
                  </a:cubicBezTo>
                  <a:cubicBezTo>
                    <a:pt x="673100" y="1494367"/>
                    <a:pt x="679198" y="1499700"/>
                    <a:pt x="685800" y="1498600"/>
                  </a:cubicBezTo>
                  <a:cubicBezTo>
                    <a:pt x="693328" y="1497345"/>
                    <a:pt x="697835" y="1488906"/>
                    <a:pt x="704850" y="1485900"/>
                  </a:cubicBezTo>
                  <a:cubicBezTo>
                    <a:pt x="712872" y="1482462"/>
                    <a:pt x="721783" y="1481667"/>
                    <a:pt x="730250" y="1479550"/>
                  </a:cubicBezTo>
                  <a:cubicBezTo>
                    <a:pt x="740833" y="1481667"/>
                    <a:pt x="751587" y="1483060"/>
                    <a:pt x="762000" y="1485900"/>
                  </a:cubicBezTo>
                  <a:cubicBezTo>
                    <a:pt x="774915" y="1489422"/>
                    <a:pt x="800100" y="1498600"/>
                    <a:pt x="800100" y="1498600"/>
                  </a:cubicBezTo>
                  <a:cubicBezTo>
                    <a:pt x="802217" y="1492250"/>
                    <a:pt x="806450" y="1486243"/>
                    <a:pt x="806450" y="1479550"/>
                  </a:cubicBezTo>
                  <a:cubicBezTo>
                    <a:pt x="806450" y="1472857"/>
                    <a:pt x="803813" y="1466069"/>
                    <a:pt x="800100" y="1460500"/>
                  </a:cubicBezTo>
                  <a:cubicBezTo>
                    <a:pt x="790321" y="1445832"/>
                    <a:pt x="776057" y="1438121"/>
                    <a:pt x="762000" y="1428750"/>
                  </a:cubicBezTo>
                  <a:cubicBezTo>
                    <a:pt x="760312" y="1426218"/>
                    <a:pt x="738799" y="1397568"/>
                    <a:pt x="742950" y="1390650"/>
                  </a:cubicBezTo>
                  <a:cubicBezTo>
                    <a:pt x="747820" y="1382533"/>
                    <a:pt x="759883" y="1382183"/>
                    <a:pt x="768350" y="1377950"/>
                  </a:cubicBezTo>
                  <a:lnTo>
                    <a:pt x="806450" y="1416050"/>
                  </a:lnTo>
                  <a:cubicBezTo>
                    <a:pt x="815916" y="1425516"/>
                    <a:pt x="811724" y="1443011"/>
                    <a:pt x="819150" y="1454150"/>
                  </a:cubicBezTo>
                  <a:cubicBezTo>
                    <a:pt x="823383" y="1460500"/>
                    <a:pt x="826107" y="1468174"/>
                    <a:pt x="831850" y="1473200"/>
                  </a:cubicBezTo>
                  <a:cubicBezTo>
                    <a:pt x="843337" y="1483251"/>
                    <a:pt x="869950" y="1498600"/>
                    <a:pt x="869950" y="1498600"/>
                  </a:cubicBezTo>
                  <a:cubicBezTo>
                    <a:pt x="878933" y="1495606"/>
                    <a:pt x="906427" y="1485900"/>
                    <a:pt x="914400" y="1485900"/>
                  </a:cubicBezTo>
                  <a:cubicBezTo>
                    <a:pt x="925193" y="1485900"/>
                    <a:pt x="935567" y="1490133"/>
                    <a:pt x="946150" y="1492250"/>
                  </a:cubicBezTo>
                  <a:cubicBezTo>
                    <a:pt x="948267" y="1498600"/>
                    <a:pt x="950877" y="1504806"/>
                    <a:pt x="952500" y="1511300"/>
                  </a:cubicBezTo>
                  <a:cubicBezTo>
                    <a:pt x="955118" y="1521771"/>
                    <a:pt x="952863" y="1534070"/>
                    <a:pt x="958850" y="1543050"/>
                  </a:cubicBezTo>
                  <a:cubicBezTo>
                    <a:pt x="962563" y="1548619"/>
                    <a:pt x="971550" y="1547283"/>
                    <a:pt x="977900" y="1549400"/>
                  </a:cubicBezTo>
                  <a:cubicBezTo>
                    <a:pt x="998797" y="1563331"/>
                    <a:pt x="999555" y="1570322"/>
                    <a:pt x="1028700" y="1555750"/>
                  </a:cubicBezTo>
                  <a:cubicBezTo>
                    <a:pt x="1036732" y="1551734"/>
                    <a:pt x="1039900" y="1541061"/>
                    <a:pt x="1047750" y="1536700"/>
                  </a:cubicBezTo>
                  <a:cubicBezTo>
                    <a:pt x="1059452" y="1530199"/>
                    <a:pt x="1073150" y="1528233"/>
                    <a:pt x="1085850" y="1524000"/>
                  </a:cubicBezTo>
                  <a:cubicBezTo>
                    <a:pt x="1129080" y="1509590"/>
                    <a:pt x="1098230" y="1518206"/>
                    <a:pt x="1181100" y="1511300"/>
                  </a:cubicBezTo>
                  <a:cubicBezTo>
                    <a:pt x="1196594" y="1506135"/>
                    <a:pt x="1206890" y="1504560"/>
                    <a:pt x="1219200" y="1492250"/>
                  </a:cubicBezTo>
                  <a:cubicBezTo>
                    <a:pt x="1224596" y="1486854"/>
                    <a:pt x="1227667" y="1479550"/>
                    <a:pt x="1231900" y="1473200"/>
                  </a:cubicBezTo>
                  <a:cubicBezTo>
                    <a:pt x="1234017" y="1460500"/>
                    <a:pt x="1235457" y="1447669"/>
                    <a:pt x="1238250" y="1435100"/>
                  </a:cubicBezTo>
                  <a:cubicBezTo>
                    <a:pt x="1239702" y="1428566"/>
                    <a:pt x="1243287" y="1422614"/>
                    <a:pt x="1244600" y="1416050"/>
                  </a:cubicBezTo>
                  <a:cubicBezTo>
                    <a:pt x="1247535" y="1401374"/>
                    <a:pt x="1248833" y="1386417"/>
                    <a:pt x="1250950" y="1371600"/>
                  </a:cubicBezTo>
                  <a:lnTo>
                    <a:pt x="1238250" y="1333500"/>
                  </a:lnTo>
                  <a:lnTo>
                    <a:pt x="1231900" y="1314450"/>
                  </a:lnTo>
                  <a:cubicBezTo>
                    <a:pt x="1234017" y="1291167"/>
                    <a:pt x="1234187" y="1267624"/>
                    <a:pt x="1238250" y="1244600"/>
                  </a:cubicBezTo>
                  <a:cubicBezTo>
                    <a:pt x="1240576" y="1231417"/>
                    <a:pt x="1250950" y="1206500"/>
                    <a:pt x="1250950" y="1206500"/>
                  </a:cubicBezTo>
                  <a:cubicBezTo>
                    <a:pt x="1234989" y="1158617"/>
                    <a:pt x="1256519" y="1217639"/>
                    <a:pt x="1231900" y="1168400"/>
                  </a:cubicBezTo>
                  <a:cubicBezTo>
                    <a:pt x="1225092" y="1154783"/>
                    <a:pt x="1222098" y="1130642"/>
                    <a:pt x="1219200" y="1117600"/>
                  </a:cubicBezTo>
                  <a:cubicBezTo>
                    <a:pt x="1213884" y="1093680"/>
                    <a:pt x="1213571" y="1094364"/>
                    <a:pt x="1206500" y="1073150"/>
                  </a:cubicBezTo>
                  <a:cubicBezTo>
                    <a:pt x="1204383" y="1047750"/>
                    <a:pt x="1203519" y="1022214"/>
                    <a:pt x="1200150" y="996950"/>
                  </a:cubicBezTo>
                  <a:cubicBezTo>
                    <a:pt x="1196806" y="971872"/>
                    <a:pt x="1182137" y="977674"/>
                    <a:pt x="1200150" y="946150"/>
                  </a:cubicBezTo>
                  <a:cubicBezTo>
                    <a:pt x="1203936" y="939524"/>
                    <a:pt x="1212226" y="936550"/>
                    <a:pt x="1219200" y="933450"/>
                  </a:cubicBezTo>
                  <a:cubicBezTo>
                    <a:pt x="1231433" y="928013"/>
                    <a:pt x="1244600" y="924983"/>
                    <a:pt x="1257300" y="920750"/>
                  </a:cubicBezTo>
                  <a:cubicBezTo>
                    <a:pt x="1286589" y="910987"/>
                    <a:pt x="1269786" y="915713"/>
                    <a:pt x="1308100" y="908050"/>
                  </a:cubicBezTo>
                  <a:cubicBezTo>
                    <a:pt x="1312758" y="901063"/>
                    <a:pt x="1328696" y="880775"/>
                    <a:pt x="1327150" y="869950"/>
                  </a:cubicBezTo>
                  <a:cubicBezTo>
                    <a:pt x="1325811" y="860579"/>
                    <a:pt x="1318179" y="853251"/>
                    <a:pt x="1314450" y="844550"/>
                  </a:cubicBezTo>
                  <a:cubicBezTo>
                    <a:pt x="1298676" y="807744"/>
                    <a:pt x="1319806" y="843059"/>
                    <a:pt x="1295400" y="806450"/>
                  </a:cubicBezTo>
                  <a:cubicBezTo>
                    <a:pt x="1297517" y="800100"/>
                    <a:pt x="1297017" y="792133"/>
                    <a:pt x="1301750" y="787400"/>
                  </a:cubicBezTo>
                  <a:cubicBezTo>
                    <a:pt x="1315149" y="774001"/>
                    <a:pt x="1348562" y="785677"/>
                    <a:pt x="1358900" y="787400"/>
                  </a:cubicBezTo>
                  <a:cubicBezTo>
                    <a:pt x="1371600" y="791633"/>
                    <a:pt x="1389574" y="811239"/>
                    <a:pt x="1397000" y="800100"/>
                  </a:cubicBezTo>
                  <a:lnTo>
                    <a:pt x="1422400" y="762000"/>
                  </a:lnTo>
                  <a:cubicBezTo>
                    <a:pt x="1406439" y="714117"/>
                    <a:pt x="1427969" y="773139"/>
                    <a:pt x="1403350" y="723900"/>
                  </a:cubicBezTo>
                  <a:cubicBezTo>
                    <a:pt x="1400357" y="717913"/>
                    <a:pt x="1399117" y="711200"/>
                    <a:pt x="1397000" y="704850"/>
                  </a:cubicBezTo>
                  <a:cubicBezTo>
                    <a:pt x="1393164" y="654983"/>
                    <a:pt x="1394755" y="632372"/>
                    <a:pt x="1384300" y="590550"/>
                  </a:cubicBezTo>
                  <a:cubicBezTo>
                    <a:pt x="1382677" y="584056"/>
                    <a:pt x="1382683" y="576233"/>
                    <a:pt x="1377950" y="571500"/>
                  </a:cubicBezTo>
                  <a:cubicBezTo>
                    <a:pt x="1367157" y="560707"/>
                    <a:pt x="1339850" y="546100"/>
                    <a:pt x="1339850" y="546100"/>
                  </a:cubicBezTo>
                  <a:lnTo>
                    <a:pt x="1301750" y="488950"/>
                  </a:lnTo>
                  <a:cubicBezTo>
                    <a:pt x="1297944" y="483241"/>
                    <a:pt x="1290108" y="448205"/>
                    <a:pt x="1289050" y="444500"/>
                  </a:cubicBezTo>
                  <a:cubicBezTo>
                    <a:pt x="1275155" y="395867"/>
                    <a:pt x="1292264" y="456494"/>
                    <a:pt x="1270000" y="406400"/>
                  </a:cubicBezTo>
                  <a:lnTo>
                    <a:pt x="1250950" y="349250"/>
                  </a:lnTo>
                  <a:lnTo>
                    <a:pt x="1244600" y="330200"/>
                  </a:lnTo>
                  <a:cubicBezTo>
                    <a:pt x="1242483" y="292100"/>
                    <a:pt x="1245734" y="253318"/>
                    <a:pt x="1238250" y="215900"/>
                  </a:cubicBezTo>
                  <a:cubicBezTo>
                    <a:pt x="1236753" y="208416"/>
                    <a:pt x="1226755" y="204279"/>
                    <a:pt x="1219200" y="203200"/>
                  </a:cubicBezTo>
                  <a:cubicBezTo>
                    <a:pt x="1210560" y="201966"/>
                    <a:pt x="1202267" y="207433"/>
                    <a:pt x="1193800" y="209550"/>
                  </a:cubicBezTo>
                  <a:cubicBezTo>
                    <a:pt x="1178169" y="219971"/>
                    <a:pt x="1171331" y="232996"/>
                    <a:pt x="1155700" y="209550"/>
                  </a:cubicBezTo>
                  <a:cubicBezTo>
                    <a:pt x="1150859" y="202288"/>
                    <a:pt x="1151748" y="192541"/>
                    <a:pt x="1149350" y="184150"/>
                  </a:cubicBezTo>
                  <a:cubicBezTo>
                    <a:pt x="1147511" y="177714"/>
                    <a:pt x="1144839" y="171536"/>
                    <a:pt x="1143000" y="165100"/>
                  </a:cubicBezTo>
                  <a:cubicBezTo>
                    <a:pt x="1140287" y="155605"/>
                    <a:pt x="1135375" y="130800"/>
                    <a:pt x="1130300" y="120650"/>
                  </a:cubicBezTo>
                  <a:cubicBezTo>
                    <a:pt x="1126887" y="113824"/>
                    <a:pt x="1120700" y="108574"/>
                    <a:pt x="1117600" y="101600"/>
                  </a:cubicBezTo>
                  <a:cubicBezTo>
                    <a:pt x="1095328" y="51487"/>
                    <a:pt x="1120120" y="73647"/>
                    <a:pt x="1085850" y="50800"/>
                  </a:cubicBezTo>
                  <a:cubicBezTo>
                    <a:pt x="1041400" y="65617"/>
                    <a:pt x="1060450" y="67733"/>
                    <a:pt x="1028700" y="57150"/>
                  </a:cubicBezTo>
                  <a:cubicBezTo>
                    <a:pt x="1024467" y="50800"/>
                    <a:pt x="1019006" y="45115"/>
                    <a:pt x="1016000" y="38100"/>
                  </a:cubicBezTo>
                  <a:cubicBezTo>
                    <a:pt x="1012562" y="30078"/>
                    <a:pt x="1015102" y="19515"/>
                    <a:pt x="1009650" y="12700"/>
                  </a:cubicBezTo>
                  <a:cubicBezTo>
                    <a:pt x="1005469" y="7473"/>
                    <a:pt x="997226" y="7297"/>
                    <a:pt x="990600" y="6350"/>
                  </a:cubicBezTo>
                  <a:cubicBezTo>
                    <a:pt x="967456" y="3044"/>
                    <a:pt x="944033" y="2117"/>
                    <a:pt x="920750" y="0"/>
                  </a:cubicBezTo>
                  <a:cubicBezTo>
                    <a:pt x="910167" y="2117"/>
                    <a:pt x="897980" y="363"/>
                    <a:pt x="889000" y="6350"/>
                  </a:cubicBezTo>
                  <a:cubicBezTo>
                    <a:pt x="877574" y="13967"/>
                    <a:pt x="884046" y="44608"/>
                    <a:pt x="889000" y="50800"/>
                  </a:cubicBezTo>
                  <a:cubicBezTo>
                    <a:pt x="893181" y="56027"/>
                    <a:pt x="901700" y="55033"/>
                    <a:pt x="908050" y="57150"/>
                  </a:cubicBezTo>
                  <a:cubicBezTo>
                    <a:pt x="910167" y="63500"/>
                    <a:pt x="916886" y="69985"/>
                    <a:pt x="914400" y="76200"/>
                  </a:cubicBezTo>
                  <a:cubicBezTo>
                    <a:pt x="910612" y="85669"/>
                    <a:pt x="884319" y="92577"/>
                    <a:pt x="876300" y="95250"/>
                  </a:cubicBezTo>
                  <a:cubicBezTo>
                    <a:pt x="869950" y="99483"/>
                    <a:pt x="862018" y="101991"/>
                    <a:pt x="857250" y="107950"/>
                  </a:cubicBezTo>
                  <a:cubicBezTo>
                    <a:pt x="839608" y="130002"/>
                    <a:pt x="866592" y="128119"/>
                    <a:pt x="831850" y="139700"/>
                  </a:cubicBezTo>
                  <a:cubicBezTo>
                    <a:pt x="813337" y="145871"/>
                    <a:pt x="793750" y="148167"/>
                    <a:pt x="774700" y="152400"/>
                  </a:cubicBezTo>
                  <a:cubicBezTo>
                    <a:pt x="776817" y="158750"/>
                    <a:pt x="781050" y="164757"/>
                    <a:pt x="781050" y="171450"/>
                  </a:cubicBezTo>
                  <a:cubicBezTo>
                    <a:pt x="781050" y="180177"/>
                    <a:pt x="780871" y="190679"/>
                    <a:pt x="774700" y="196850"/>
                  </a:cubicBezTo>
                  <a:cubicBezTo>
                    <a:pt x="768529" y="203021"/>
                    <a:pt x="757858" y="201488"/>
                    <a:pt x="749300" y="203200"/>
                  </a:cubicBezTo>
                  <a:cubicBezTo>
                    <a:pt x="736675" y="205725"/>
                    <a:pt x="723900" y="207433"/>
                    <a:pt x="711200" y="209550"/>
                  </a:cubicBezTo>
                  <a:cubicBezTo>
                    <a:pt x="694267" y="207433"/>
                    <a:pt x="676471" y="208940"/>
                    <a:pt x="660400" y="203200"/>
                  </a:cubicBezTo>
                  <a:cubicBezTo>
                    <a:pt x="646026" y="198066"/>
                    <a:pt x="636780" y="182627"/>
                    <a:pt x="622300" y="177800"/>
                  </a:cubicBezTo>
                  <a:lnTo>
                    <a:pt x="603250" y="171450"/>
                  </a:lnTo>
                  <a:cubicBezTo>
                    <a:pt x="583124" y="141261"/>
                    <a:pt x="592963" y="159640"/>
                    <a:pt x="577850" y="114300"/>
                  </a:cubicBezTo>
                  <a:cubicBezTo>
                    <a:pt x="574857" y="105320"/>
                    <a:pt x="560917" y="105833"/>
                    <a:pt x="552450" y="101600"/>
                  </a:cubicBezTo>
                  <a:cubicBezTo>
                    <a:pt x="548217" y="107950"/>
                    <a:pt x="541005" y="113122"/>
                    <a:pt x="539750" y="120650"/>
                  </a:cubicBezTo>
                  <a:cubicBezTo>
                    <a:pt x="537124" y="136404"/>
                    <a:pt x="557219" y="150819"/>
                    <a:pt x="565150" y="158750"/>
                  </a:cubicBezTo>
                  <a:cubicBezTo>
                    <a:pt x="560917" y="165100"/>
                    <a:pt x="559536" y="174966"/>
                    <a:pt x="552450" y="177800"/>
                  </a:cubicBezTo>
                  <a:cubicBezTo>
                    <a:pt x="542910" y="181616"/>
                    <a:pt x="519871" y="160820"/>
                    <a:pt x="514350" y="158750"/>
                  </a:cubicBezTo>
                  <a:cubicBezTo>
                    <a:pt x="504244" y="154960"/>
                    <a:pt x="493071" y="155018"/>
                    <a:pt x="482600" y="152400"/>
                  </a:cubicBezTo>
                  <a:cubicBezTo>
                    <a:pt x="476106" y="150777"/>
                    <a:pt x="469900" y="148167"/>
                    <a:pt x="463550" y="146050"/>
                  </a:cubicBezTo>
                  <a:cubicBezTo>
                    <a:pt x="455703" y="169590"/>
                    <a:pt x="454207" y="159113"/>
                    <a:pt x="457200" y="1397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7" name="Freeform 26"/>
            <p:cNvSpPr/>
            <p:nvPr>
              <p:custDataLst>
                <p:tags r:id="rId15"/>
              </p:custDataLst>
            </p:nvPr>
          </p:nvSpPr>
          <p:spPr bwMode="gray">
            <a:xfrm>
              <a:off x="2665599" y="3854450"/>
              <a:ext cx="1066800" cy="1365250"/>
            </a:xfrm>
            <a:custGeom>
              <a:avLst/>
              <a:gdLst>
                <a:gd name="connsiteX0" fmla="*/ 114300 w 1066800"/>
                <a:gd name="connsiteY0" fmla="*/ 355600 h 1365250"/>
                <a:gd name="connsiteX1" fmla="*/ 133350 w 1066800"/>
                <a:gd name="connsiteY1" fmla="*/ 374650 h 1365250"/>
                <a:gd name="connsiteX2" fmla="*/ 152400 w 1066800"/>
                <a:gd name="connsiteY2" fmla="*/ 387350 h 1365250"/>
                <a:gd name="connsiteX3" fmla="*/ 158750 w 1066800"/>
                <a:gd name="connsiteY3" fmla="*/ 406400 h 1365250"/>
                <a:gd name="connsiteX4" fmla="*/ 139700 w 1066800"/>
                <a:gd name="connsiteY4" fmla="*/ 412750 h 1365250"/>
                <a:gd name="connsiteX5" fmla="*/ 95250 w 1066800"/>
                <a:gd name="connsiteY5" fmla="*/ 393700 h 1365250"/>
                <a:gd name="connsiteX6" fmla="*/ 76200 w 1066800"/>
                <a:gd name="connsiteY6" fmla="*/ 412750 h 1365250"/>
                <a:gd name="connsiteX7" fmla="*/ 50800 w 1066800"/>
                <a:gd name="connsiteY7" fmla="*/ 450850 h 1365250"/>
                <a:gd name="connsiteX8" fmla="*/ 31750 w 1066800"/>
                <a:gd name="connsiteY8" fmla="*/ 463550 h 1365250"/>
                <a:gd name="connsiteX9" fmla="*/ 6350 w 1066800"/>
                <a:gd name="connsiteY9" fmla="*/ 457200 h 1365250"/>
                <a:gd name="connsiteX10" fmla="*/ 0 w 1066800"/>
                <a:gd name="connsiteY10" fmla="*/ 476250 h 1365250"/>
                <a:gd name="connsiteX11" fmla="*/ 6350 w 1066800"/>
                <a:gd name="connsiteY11" fmla="*/ 514350 h 1365250"/>
                <a:gd name="connsiteX12" fmla="*/ 12700 w 1066800"/>
                <a:gd name="connsiteY12" fmla="*/ 558800 h 1365250"/>
                <a:gd name="connsiteX13" fmla="*/ 19050 w 1066800"/>
                <a:gd name="connsiteY13" fmla="*/ 647700 h 1365250"/>
                <a:gd name="connsiteX14" fmla="*/ 25400 w 1066800"/>
                <a:gd name="connsiteY14" fmla="*/ 666750 h 1365250"/>
                <a:gd name="connsiteX15" fmla="*/ 44450 w 1066800"/>
                <a:gd name="connsiteY15" fmla="*/ 679450 h 1365250"/>
                <a:gd name="connsiteX16" fmla="*/ 57150 w 1066800"/>
                <a:gd name="connsiteY16" fmla="*/ 698500 h 1365250"/>
                <a:gd name="connsiteX17" fmla="*/ 88900 w 1066800"/>
                <a:gd name="connsiteY17" fmla="*/ 742950 h 1365250"/>
                <a:gd name="connsiteX18" fmla="*/ 127000 w 1066800"/>
                <a:gd name="connsiteY18" fmla="*/ 768350 h 1365250"/>
                <a:gd name="connsiteX19" fmla="*/ 146050 w 1066800"/>
                <a:gd name="connsiteY19" fmla="*/ 762000 h 1365250"/>
                <a:gd name="connsiteX20" fmla="*/ 177800 w 1066800"/>
                <a:gd name="connsiteY20" fmla="*/ 787400 h 1365250"/>
                <a:gd name="connsiteX21" fmla="*/ 158750 w 1066800"/>
                <a:gd name="connsiteY21" fmla="*/ 850900 h 1365250"/>
                <a:gd name="connsiteX22" fmla="*/ 146050 w 1066800"/>
                <a:gd name="connsiteY22" fmla="*/ 869950 h 1365250"/>
                <a:gd name="connsiteX23" fmla="*/ 127000 w 1066800"/>
                <a:gd name="connsiteY23" fmla="*/ 889000 h 1365250"/>
                <a:gd name="connsiteX24" fmla="*/ 107950 w 1066800"/>
                <a:gd name="connsiteY24" fmla="*/ 895350 h 1365250"/>
                <a:gd name="connsiteX25" fmla="*/ 82550 w 1066800"/>
                <a:gd name="connsiteY25" fmla="*/ 933450 h 1365250"/>
                <a:gd name="connsiteX26" fmla="*/ 88900 w 1066800"/>
                <a:gd name="connsiteY26" fmla="*/ 952500 h 1365250"/>
                <a:gd name="connsiteX27" fmla="*/ 184150 w 1066800"/>
                <a:gd name="connsiteY27" fmla="*/ 958850 h 1365250"/>
                <a:gd name="connsiteX28" fmla="*/ 254000 w 1066800"/>
                <a:gd name="connsiteY28" fmla="*/ 952500 h 1365250"/>
                <a:gd name="connsiteX29" fmla="*/ 266700 w 1066800"/>
                <a:gd name="connsiteY29" fmla="*/ 933450 h 1365250"/>
                <a:gd name="connsiteX30" fmla="*/ 285750 w 1066800"/>
                <a:gd name="connsiteY30" fmla="*/ 914400 h 1365250"/>
                <a:gd name="connsiteX31" fmla="*/ 304800 w 1066800"/>
                <a:gd name="connsiteY31" fmla="*/ 901700 h 1365250"/>
                <a:gd name="connsiteX32" fmla="*/ 336550 w 1066800"/>
                <a:gd name="connsiteY32" fmla="*/ 895350 h 1365250"/>
                <a:gd name="connsiteX33" fmla="*/ 355600 w 1066800"/>
                <a:gd name="connsiteY33" fmla="*/ 889000 h 1365250"/>
                <a:gd name="connsiteX34" fmla="*/ 406400 w 1066800"/>
                <a:gd name="connsiteY34" fmla="*/ 895350 h 1365250"/>
                <a:gd name="connsiteX35" fmla="*/ 419100 w 1066800"/>
                <a:gd name="connsiteY35" fmla="*/ 914400 h 1365250"/>
                <a:gd name="connsiteX36" fmla="*/ 488950 w 1066800"/>
                <a:gd name="connsiteY36" fmla="*/ 939800 h 1365250"/>
                <a:gd name="connsiteX37" fmla="*/ 501650 w 1066800"/>
                <a:gd name="connsiteY37" fmla="*/ 965200 h 1365250"/>
                <a:gd name="connsiteX38" fmla="*/ 495300 w 1066800"/>
                <a:gd name="connsiteY38" fmla="*/ 990600 h 1365250"/>
                <a:gd name="connsiteX39" fmla="*/ 501650 w 1066800"/>
                <a:gd name="connsiteY39" fmla="*/ 1047750 h 1365250"/>
                <a:gd name="connsiteX40" fmla="*/ 520700 w 1066800"/>
                <a:gd name="connsiteY40" fmla="*/ 1085850 h 1365250"/>
                <a:gd name="connsiteX41" fmla="*/ 539750 w 1066800"/>
                <a:gd name="connsiteY41" fmla="*/ 1104900 h 1365250"/>
                <a:gd name="connsiteX42" fmla="*/ 552450 w 1066800"/>
                <a:gd name="connsiteY42" fmla="*/ 1123950 h 1365250"/>
                <a:gd name="connsiteX43" fmla="*/ 533400 w 1066800"/>
                <a:gd name="connsiteY43" fmla="*/ 1225550 h 1365250"/>
                <a:gd name="connsiteX44" fmla="*/ 552450 w 1066800"/>
                <a:gd name="connsiteY44" fmla="*/ 1231900 h 1365250"/>
                <a:gd name="connsiteX45" fmla="*/ 590550 w 1066800"/>
                <a:gd name="connsiteY45" fmla="*/ 1231900 h 1365250"/>
                <a:gd name="connsiteX46" fmla="*/ 609600 w 1066800"/>
                <a:gd name="connsiteY46" fmla="*/ 1289050 h 1365250"/>
                <a:gd name="connsiteX47" fmla="*/ 666750 w 1066800"/>
                <a:gd name="connsiteY47" fmla="*/ 1320800 h 1365250"/>
                <a:gd name="connsiteX48" fmla="*/ 692150 w 1066800"/>
                <a:gd name="connsiteY48" fmla="*/ 1327150 h 1365250"/>
                <a:gd name="connsiteX49" fmla="*/ 793750 w 1066800"/>
                <a:gd name="connsiteY49" fmla="*/ 1320800 h 1365250"/>
                <a:gd name="connsiteX50" fmla="*/ 812800 w 1066800"/>
                <a:gd name="connsiteY50" fmla="*/ 1327150 h 1365250"/>
                <a:gd name="connsiteX51" fmla="*/ 850900 w 1066800"/>
                <a:gd name="connsiteY51" fmla="*/ 1352550 h 1365250"/>
                <a:gd name="connsiteX52" fmla="*/ 889000 w 1066800"/>
                <a:gd name="connsiteY52" fmla="*/ 1365250 h 1365250"/>
                <a:gd name="connsiteX53" fmla="*/ 952500 w 1066800"/>
                <a:gd name="connsiteY53" fmla="*/ 1352550 h 1365250"/>
                <a:gd name="connsiteX54" fmla="*/ 977900 w 1066800"/>
                <a:gd name="connsiteY54" fmla="*/ 1314450 h 1365250"/>
                <a:gd name="connsiteX55" fmla="*/ 990600 w 1066800"/>
                <a:gd name="connsiteY55" fmla="*/ 1295400 h 1365250"/>
                <a:gd name="connsiteX56" fmla="*/ 1016000 w 1066800"/>
                <a:gd name="connsiteY56" fmla="*/ 1181100 h 1365250"/>
                <a:gd name="connsiteX57" fmla="*/ 1035050 w 1066800"/>
                <a:gd name="connsiteY57" fmla="*/ 1168400 h 1365250"/>
                <a:gd name="connsiteX58" fmla="*/ 1041400 w 1066800"/>
                <a:gd name="connsiteY58" fmla="*/ 1143000 h 1365250"/>
                <a:gd name="connsiteX59" fmla="*/ 1066800 w 1066800"/>
                <a:gd name="connsiteY59" fmla="*/ 1104900 h 1365250"/>
                <a:gd name="connsiteX60" fmla="*/ 1060450 w 1066800"/>
                <a:gd name="connsiteY60" fmla="*/ 1079500 h 1365250"/>
                <a:gd name="connsiteX61" fmla="*/ 1047750 w 1066800"/>
                <a:gd name="connsiteY61" fmla="*/ 1035050 h 1365250"/>
                <a:gd name="connsiteX62" fmla="*/ 1028700 w 1066800"/>
                <a:gd name="connsiteY62" fmla="*/ 952500 h 1365250"/>
                <a:gd name="connsiteX63" fmla="*/ 1022350 w 1066800"/>
                <a:gd name="connsiteY63" fmla="*/ 933450 h 1365250"/>
                <a:gd name="connsiteX64" fmla="*/ 1016000 w 1066800"/>
                <a:gd name="connsiteY64" fmla="*/ 908050 h 1365250"/>
                <a:gd name="connsiteX65" fmla="*/ 990600 w 1066800"/>
                <a:gd name="connsiteY65" fmla="*/ 869950 h 1365250"/>
                <a:gd name="connsiteX66" fmla="*/ 1003300 w 1066800"/>
                <a:gd name="connsiteY66" fmla="*/ 850900 h 1365250"/>
                <a:gd name="connsiteX67" fmla="*/ 1041400 w 1066800"/>
                <a:gd name="connsiteY67" fmla="*/ 838200 h 1365250"/>
                <a:gd name="connsiteX68" fmla="*/ 1054100 w 1066800"/>
                <a:gd name="connsiteY68" fmla="*/ 819150 h 1365250"/>
                <a:gd name="connsiteX69" fmla="*/ 1035050 w 1066800"/>
                <a:gd name="connsiteY69" fmla="*/ 806450 h 1365250"/>
                <a:gd name="connsiteX70" fmla="*/ 1016000 w 1066800"/>
                <a:gd name="connsiteY70" fmla="*/ 787400 h 1365250"/>
                <a:gd name="connsiteX71" fmla="*/ 1003300 w 1066800"/>
                <a:gd name="connsiteY71" fmla="*/ 723900 h 1365250"/>
                <a:gd name="connsiteX72" fmla="*/ 984250 w 1066800"/>
                <a:gd name="connsiteY72" fmla="*/ 685800 h 1365250"/>
                <a:gd name="connsiteX73" fmla="*/ 977900 w 1066800"/>
                <a:gd name="connsiteY73" fmla="*/ 666750 h 1365250"/>
                <a:gd name="connsiteX74" fmla="*/ 939800 w 1066800"/>
                <a:gd name="connsiteY74" fmla="*/ 641350 h 1365250"/>
                <a:gd name="connsiteX75" fmla="*/ 882650 w 1066800"/>
                <a:gd name="connsiteY75" fmla="*/ 654050 h 1365250"/>
                <a:gd name="connsiteX76" fmla="*/ 863600 w 1066800"/>
                <a:gd name="connsiteY76" fmla="*/ 666750 h 1365250"/>
                <a:gd name="connsiteX77" fmla="*/ 819150 w 1066800"/>
                <a:gd name="connsiteY77" fmla="*/ 679450 h 1365250"/>
                <a:gd name="connsiteX78" fmla="*/ 793750 w 1066800"/>
                <a:gd name="connsiteY78" fmla="*/ 673100 h 1365250"/>
                <a:gd name="connsiteX79" fmla="*/ 762000 w 1066800"/>
                <a:gd name="connsiteY79" fmla="*/ 641350 h 1365250"/>
                <a:gd name="connsiteX80" fmla="*/ 749300 w 1066800"/>
                <a:gd name="connsiteY80" fmla="*/ 603250 h 1365250"/>
                <a:gd name="connsiteX81" fmla="*/ 755650 w 1066800"/>
                <a:gd name="connsiteY81" fmla="*/ 584200 h 1365250"/>
                <a:gd name="connsiteX82" fmla="*/ 793750 w 1066800"/>
                <a:gd name="connsiteY82" fmla="*/ 565150 h 1365250"/>
                <a:gd name="connsiteX83" fmla="*/ 800100 w 1066800"/>
                <a:gd name="connsiteY83" fmla="*/ 546100 h 1365250"/>
                <a:gd name="connsiteX84" fmla="*/ 787400 w 1066800"/>
                <a:gd name="connsiteY84" fmla="*/ 508000 h 1365250"/>
                <a:gd name="connsiteX85" fmla="*/ 831850 w 1066800"/>
                <a:gd name="connsiteY85" fmla="*/ 508000 h 1365250"/>
                <a:gd name="connsiteX86" fmla="*/ 869950 w 1066800"/>
                <a:gd name="connsiteY86" fmla="*/ 520700 h 1365250"/>
                <a:gd name="connsiteX87" fmla="*/ 876300 w 1066800"/>
                <a:gd name="connsiteY87" fmla="*/ 501650 h 1365250"/>
                <a:gd name="connsiteX88" fmla="*/ 869950 w 1066800"/>
                <a:gd name="connsiteY88" fmla="*/ 482600 h 1365250"/>
                <a:gd name="connsiteX89" fmla="*/ 895350 w 1066800"/>
                <a:gd name="connsiteY89" fmla="*/ 469900 h 1365250"/>
                <a:gd name="connsiteX90" fmla="*/ 908050 w 1066800"/>
                <a:gd name="connsiteY90" fmla="*/ 450850 h 1365250"/>
                <a:gd name="connsiteX91" fmla="*/ 882650 w 1066800"/>
                <a:gd name="connsiteY91" fmla="*/ 412750 h 1365250"/>
                <a:gd name="connsiteX92" fmla="*/ 876300 w 1066800"/>
                <a:gd name="connsiteY92" fmla="*/ 393700 h 1365250"/>
                <a:gd name="connsiteX93" fmla="*/ 869950 w 1066800"/>
                <a:gd name="connsiteY93" fmla="*/ 361950 h 1365250"/>
                <a:gd name="connsiteX94" fmla="*/ 857250 w 1066800"/>
                <a:gd name="connsiteY94" fmla="*/ 342900 h 1365250"/>
                <a:gd name="connsiteX95" fmla="*/ 857250 w 1066800"/>
                <a:gd name="connsiteY95" fmla="*/ 273050 h 1365250"/>
                <a:gd name="connsiteX96" fmla="*/ 895350 w 1066800"/>
                <a:gd name="connsiteY96" fmla="*/ 254000 h 1365250"/>
                <a:gd name="connsiteX97" fmla="*/ 908050 w 1066800"/>
                <a:gd name="connsiteY97" fmla="*/ 184150 h 1365250"/>
                <a:gd name="connsiteX98" fmla="*/ 869950 w 1066800"/>
                <a:gd name="connsiteY98" fmla="*/ 158750 h 1365250"/>
                <a:gd name="connsiteX99" fmla="*/ 844550 w 1066800"/>
                <a:gd name="connsiteY99" fmla="*/ 101600 h 1365250"/>
                <a:gd name="connsiteX100" fmla="*/ 831850 w 1066800"/>
                <a:gd name="connsiteY100" fmla="*/ 57150 h 1365250"/>
                <a:gd name="connsiteX101" fmla="*/ 793750 w 1066800"/>
                <a:gd name="connsiteY101" fmla="*/ 25400 h 1365250"/>
                <a:gd name="connsiteX102" fmla="*/ 774700 w 1066800"/>
                <a:gd name="connsiteY102" fmla="*/ 19050 h 1365250"/>
                <a:gd name="connsiteX103" fmla="*/ 768350 w 1066800"/>
                <a:gd name="connsiteY103" fmla="*/ 0 h 1365250"/>
                <a:gd name="connsiteX104" fmla="*/ 755650 w 1066800"/>
                <a:gd name="connsiteY104" fmla="*/ 19050 h 1365250"/>
                <a:gd name="connsiteX105" fmla="*/ 749300 w 1066800"/>
                <a:gd name="connsiteY105" fmla="*/ 57150 h 1365250"/>
                <a:gd name="connsiteX106" fmla="*/ 730250 w 1066800"/>
                <a:gd name="connsiteY106" fmla="*/ 69850 h 1365250"/>
                <a:gd name="connsiteX107" fmla="*/ 717550 w 1066800"/>
                <a:gd name="connsiteY107" fmla="*/ 88900 h 1365250"/>
                <a:gd name="connsiteX108" fmla="*/ 692150 w 1066800"/>
                <a:gd name="connsiteY108" fmla="*/ 120650 h 1365250"/>
                <a:gd name="connsiteX109" fmla="*/ 660400 w 1066800"/>
                <a:gd name="connsiteY109" fmla="*/ 127000 h 1365250"/>
                <a:gd name="connsiteX110" fmla="*/ 635000 w 1066800"/>
                <a:gd name="connsiteY110" fmla="*/ 133350 h 1365250"/>
                <a:gd name="connsiteX111" fmla="*/ 596900 w 1066800"/>
                <a:gd name="connsiteY111" fmla="*/ 146050 h 1365250"/>
                <a:gd name="connsiteX112" fmla="*/ 558800 w 1066800"/>
                <a:gd name="connsiteY112" fmla="*/ 171450 h 1365250"/>
                <a:gd name="connsiteX113" fmla="*/ 552450 w 1066800"/>
                <a:gd name="connsiteY113" fmla="*/ 196850 h 1365250"/>
                <a:gd name="connsiteX114" fmla="*/ 533400 w 1066800"/>
                <a:gd name="connsiteY114" fmla="*/ 203200 h 1365250"/>
                <a:gd name="connsiteX115" fmla="*/ 469900 w 1066800"/>
                <a:gd name="connsiteY115" fmla="*/ 209550 h 1365250"/>
                <a:gd name="connsiteX116" fmla="*/ 431800 w 1066800"/>
                <a:gd name="connsiteY116" fmla="*/ 222250 h 1365250"/>
                <a:gd name="connsiteX117" fmla="*/ 412750 w 1066800"/>
                <a:gd name="connsiteY117" fmla="*/ 228600 h 1365250"/>
                <a:gd name="connsiteX118" fmla="*/ 387350 w 1066800"/>
                <a:gd name="connsiteY118" fmla="*/ 260350 h 1365250"/>
                <a:gd name="connsiteX119" fmla="*/ 349250 w 1066800"/>
                <a:gd name="connsiteY119" fmla="*/ 298450 h 1365250"/>
                <a:gd name="connsiteX120" fmla="*/ 336550 w 1066800"/>
                <a:gd name="connsiteY120" fmla="*/ 317500 h 1365250"/>
                <a:gd name="connsiteX121" fmla="*/ 298450 w 1066800"/>
                <a:gd name="connsiteY121" fmla="*/ 342900 h 1365250"/>
                <a:gd name="connsiteX122" fmla="*/ 292100 w 1066800"/>
                <a:gd name="connsiteY122" fmla="*/ 361950 h 1365250"/>
                <a:gd name="connsiteX123" fmla="*/ 254000 w 1066800"/>
                <a:gd name="connsiteY123" fmla="*/ 374650 h 1365250"/>
                <a:gd name="connsiteX124" fmla="*/ 203200 w 1066800"/>
                <a:gd name="connsiteY124" fmla="*/ 368300 h 1365250"/>
                <a:gd name="connsiteX125" fmla="*/ 165100 w 1066800"/>
                <a:gd name="connsiteY125" fmla="*/ 361950 h 1365250"/>
                <a:gd name="connsiteX126" fmla="*/ 114300 w 1066800"/>
                <a:gd name="connsiteY126" fmla="*/ 355600 h 136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1066800" h="1365250">
                  <a:moveTo>
                    <a:pt x="114300" y="355600"/>
                  </a:moveTo>
                  <a:cubicBezTo>
                    <a:pt x="109008" y="357717"/>
                    <a:pt x="126451" y="368901"/>
                    <a:pt x="133350" y="374650"/>
                  </a:cubicBezTo>
                  <a:cubicBezTo>
                    <a:pt x="139213" y="379536"/>
                    <a:pt x="147632" y="381391"/>
                    <a:pt x="152400" y="387350"/>
                  </a:cubicBezTo>
                  <a:cubicBezTo>
                    <a:pt x="156581" y="392577"/>
                    <a:pt x="156633" y="400050"/>
                    <a:pt x="158750" y="406400"/>
                  </a:cubicBezTo>
                  <a:cubicBezTo>
                    <a:pt x="152400" y="408517"/>
                    <a:pt x="146393" y="412750"/>
                    <a:pt x="139700" y="412750"/>
                  </a:cubicBezTo>
                  <a:cubicBezTo>
                    <a:pt x="119198" y="412750"/>
                    <a:pt x="110804" y="404069"/>
                    <a:pt x="95250" y="393700"/>
                  </a:cubicBezTo>
                  <a:cubicBezTo>
                    <a:pt x="88900" y="400050"/>
                    <a:pt x="81713" y="405661"/>
                    <a:pt x="76200" y="412750"/>
                  </a:cubicBezTo>
                  <a:cubicBezTo>
                    <a:pt x="66829" y="424798"/>
                    <a:pt x="63500" y="442383"/>
                    <a:pt x="50800" y="450850"/>
                  </a:cubicBezTo>
                  <a:lnTo>
                    <a:pt x="31750" y="463550"/>
                  </a:lnTo>
                  <a:cubicBezTo>
                    <a:pt x="23283" y="461433"/>
                    <a:pt x="14453" y="453959"/>
                    <a:pt x="6350" y="457200"/>
                  </a:cubicBezTo>
                  <a:cubicBezTo>
                    <a:pt x="135" y="459686"/>
                    <a:pt x="0" y="469557"/>
                    <a:pt x="0" y="476250"/>
                  </a:cubicBezTo>
                  <a:cubicBezTo>
                    <a:pt x="0" y="489125"/>
                    <a:pt x="4392" y="501625"/>
                    <a:pt x="6350" y="514350"/>
                  </a:cubicBezTo>
                  <a:cubicBezTo>
                    <a:pt x="8626" y="529143"/>
                    <a:pt x="11281" y="543900"/>
                    <a:pt x="12700" y="558800"/>
                  </a:cubicBezTo>
                  <a:cubicBezTo>
                    <a:pt x="15517" y="588375"/>
                    <a:pt x="15579" y="618195"/>
                    <a:pt x="19050" y="647700"/>
                  </a:cubicBezTo>
                  <a:cubicBezTo>
                    <a:pt x="19832" y="654348"/>
                    <a:pt x="21219" y="661523"/>
                    <a:pt x="25400" y="666750"/>
                  </a:cubicBezTo>
                  <a:cubicBezTo>
                    <a:pt x="30168" y="672709"/>
                    <a:pt x="38100" y="675217"/>
                    <a:pt x="44450" y="679450"/>
                  </a:cubicBezTo>
                  <a:cubicBezTo>
                    <a:pt x="48683" y="685800"/>
                    <a:pt x="53364" y="691874"/>
                    <a:pt x="57150" y="698500"/>
                  </a:cubicBezTo>
                  <a:cubicBezTo>
                    <a:pt x="71962" y="724421"/>
                    <a:pt x="64963" y="724332"/>
                    <a:pt x="88900" y="742950"/>
                  </a:cubicBezTo>
                  <a:cubicBezTo>
                    <a:pt x="100948" y="752321"/>
                    <a:pt x="127000" y="768350"/>
                    <a:pt x="127000" y="768350"/>
                  </a:cubicBezTo>
                  <a:cubicBezTo>
                    <a:pt x="133350" y="766233"/>
                    <a:pt x="139357" y="762000"/>
                    <a:pt x="146050" y="762000"/>
                  </a:cubicBezTo>
                  <a:cubicBezTo>
                    <a:pt x="166498" y="762000"/>
                    <a:pt x="168048" y="772772"/>
                    <a:pt x="177800" y="787400"/>
                  </a:cubicBezTo>
                  <a:cubicBezTo>
                    <a:pt x="168203" y="825787"/>
                    <a:pt x="174210" y="804521"/>
                    <a:pt x="158750" y="850900"/>
                  </a:cubicBezTo>
                  <a:cubicBezTo>
                    <a:pt x="156337" y="858140"/>
                    <a:pt x="150936" y="864087"/>
                    <a:pt x="146050" y="869950"/>
                  </a:cubicBezTo>
                  <a:cubicBezTo>
                    <a:pt x="140301" y="876849"/>
                    <a:pt x="134472" y="884019"/>
                    <a:pt x="127000" y="889000"/>
                  </a:cubicBezTo>
                  <a:cubicBezTo>
                    <a:pt x="121431" y="892713"/>
                    <a:pt x="114300" y="893233"/>
                    <a:pt x="107950" y="895350"/>
                  </a:cubicBezTo>
                  <a:cubicBezTo>
                    <a:pt x="99483" y="908050"/>
                    <a:pt x="77723" y="918970"/>
                    <a:pt x="82550" y="933450"/>
                  </a:cubicBezTo>
                  <a:cubicBezTo>
                    <a:pt x="84667" y="939800"/>
                    <a:pt x="82406" y="950877"/>
                    <a:pt x="88900" y="952500"/>
                  </a:cubicBezTo>
                  <a:cubicBezTo>
                    <a:pt x="119770" y="960218"/>
                    <a:pt x="152400" y="956733"/>
                    <a:pt x="184150" y="958850"/>
                  </a:cubicBezTo>
                  <a:cubicBezTo>
                    <a:pt x="207433" y="956733"/>
                    <a:pt x="231655" y="959376"/>
                    <a:pt x="254000" y="952500"/>
                  </a:cubicBezTo>
                  <a:cubicBezTo>
                    <a:pt x="261294" y="950256"/>
                    <a:pt x="261814" y="939313"/>
                    <a:pt x="266700" y="933450"/>
                  </a:cubicBezTo>
                  <a:cubicBezTo>
                    <a:pt x="272449" y="926551"/>
                    <a:pt x="278851" y="920149"/>
                    <a:pt x="285750" y="914400"/>
                  </a:cubicBezTo>
                  <a:cubicBezTo>
                    <a:pt x="291613" y="909514"/>
                    <a:pt x="297654" y="904380"/>
                    <a:pt x="304800" y="901700"/>
                  </a:cubicBezTo>
                  <a:cubicBezTo>
                    <a:pt x="314906" y="897910"/>
                    <a:pt x="326079" y="897968"/>
                    <a:pt x="336550" y="895350"/>
                  </a:cubicBezTo>
                  <a:cubicBezTo>
                    <a:pt x="343044" y="893727"/>
                    <a:pt x="349250" y="891117"/>
                    <a:pt x="355600" y="889000"/>
                  </a:cubicBezTo>
                  <a:cubicBezTo>
                    <a:pt x="372533" y="891117"/>
                    <a:pt x="390555" y="889012"/>
                    <a:pt x="406400" y="895350"/>
                  </a:cubicBezTo>
                  <a:cubicBezTo>
                    <a:pt x="413486" y="898184"/>
                    <a:pt x="413704" y="909004"/>
                    <a:pt x="419100" y="914400"/>
                  </a:cubicBezTo>
                  <a:cubicBezTo>
                    <a:pt x="437282" y="932582"/>
                    <a:pt x="465454" y="935101"/>
                    <a:pt x="488950" y="939800"/>
                  </a:cubicBezTo>
                  <a:cubicBezTo>
                    <a:pt x="493183" y="948267"/>
                    <a:pt x="500476" y="955807"/>
                    <a:pt x="501650" y="965200"/>
                  </a:cubicBezTo>
                  <a:cubicBezTo>
                    <a:pt x="502732" y="973860"/>
                    <a:pt x="495300" y="981873"/>
                    <a:pt x="495300" y="990600"/>
                  </a:cubicBezTo>
                  <a:cubicBezTo>
                    <a:pt x="495300" y="1009767"/>
                    <a:pt x="498499" y="1028844"/>
                    <a:pt x="501650" y="1047750"/>
                  </a:cubicBezTo>
                  <a:cubicBezTo>
                    <a:pt x="504037" y="1062069"/>
                    <a:pt x="511558" y="1074879"/>
                    <a:pt x="520700" y="1085850"/>
                  </a:cubicBezTo>
                  <a:cubicBezTo>
                    <a:pt x="526449" y="1092749"/>
                    <a:pt x="534001" y="1098001"/>
                    <a:pt x="539750" y="1104900"/>
                  </a:cubicBezTo>
                  <a:cubicBezTo>
                    <a:pt x="544636" y="1110763"/>
                    <a:pt x="548217" y="1117600"/>
                    <a:pt x="552450" y="1123950"/>
                  </a:cubicBezTo>
                  <a:cubicBezTo>
                    <a:pt x="524882" y="1165302"/>
                    <a:pt x="512108" y="1166997"/>
                    <a:pt x="533400" y="1225550"/>
                  </a:cubicBezTo>
                  <a:cubicBezTo>
                    <a:pt x="535687" y="1231840"/>
                    <a:pt x="546100" y="1229783"/>
                    <a:pt x="552450" y="1231900"/>
                  </a:cubicBezTo>
                  <a:cubicBezTo>
                    <a:pt x="567391" y="1221939"/>
                    <a:pt x="575609" y="1207994"/>
                    <a:pt x="590550" y="1231900"/>
                  </a:cubicBezTo>
                  <a:lnTo>
                    <a:pt x="609600" y="1289050"/>
                  </a:lnTo>
                  <a:cubicBezTo>
                    <a:pt x="614388" y="1303413"/>
                    <a:pt x="650271" y="1316092"/>
                    <a:pt x="666750" y="1320800"/>
                  </a:cubicBezTo>
                  <a:cubicBezTo>
                    <a:pt x="675141" y="1323198"/>
                    <a:pt x="683683" y="1325033"/>
                    <a:pt x="692150" y="1327150"/>
                  </a:cubicBezTo>
                  <a:cubicBezTo>
                    <a:pt x="759506" y="1310311"/>
                    <a:pt x="725630" y="1312285"/>
                    <a:pt x="793750" y="1320800"/>
                  </a:cubicBezTo>
                  <a:cubicBezTo>
                    <a:pt x="800100" y="1322917"/>
                    <a:pt x="806949" y="1323899"/>
                    <a:pt x="812800" y="1327150"/>
                  </a:cubicBezTo>
                  <a:cubicBezTo>
                    <a:pt x="826143" y="1334563"/>
                    <a:pt x="836420" y="1347723"/>
                    <a:pt x="850900" y="1352550"/>
                  </a:cubicBezTo>
                  <a:lnTo>
                    <a:pt x="889000" y="1365250"/>
                  </a:lnTo>
                  <a:cubicBezTo>
                    <a:pt x="910167" y="1361017"/>
                    <a:pt x="933758" y="1363260"/>
                    <a:pt x="952500" y="1352550"/>
                  </a:cubicBezTo>
                  <a:cubicBezTo>
                    <a:pt x="965752" y="1344977"/>
                    <a:pt x="969433" y="1327150"/>
                    <a:pt x="977900" y="1314450"/>
                  </a:cubicBezTo>
                  <a:lnTo>
                    <a:pt x="990600" y="1295400"/>
                  </a:lnTo>
                  <a:cubicBezTo>
                    <a:pt x="995815" y="1217171"/>
                    <a:pt x="974938" y="1215318"/>
                    <a:pt x="1016000" y="1181100"/>
                  </a:cubicBezTo>
                  <a:cubicBezTo>
                    <a:pt x="1021863" y="1176214"/>
                    <a:pt x="1028700" y="1172633"/>
                    <a:pt x="1035050" y="1168400"/>
                  </a:cubicBezTo>
                  <a:cubicBezTo>
                    <a:pt x="1037167" y="1159933"/>
                    <a:pt x="1037497" y="1150806"/>
                    <a:pt x="1041400" y="1143000"/>
                  </a:cubicBezTo>
                  <a:cubicBezTo>
                    <a:pt x="1048226" y="1129348"/>
                    <a:pt x="1066800" y="1104900"/>
                    <a:pt x="1066800" y="1104900"/>
                  </a:cubicBezTo>
                  <a:cubicBezTo>
                    <a:pt x="1064683" y="1096433"/>
                    <a:pt x="1062848" y="1087891"/>
                    <a:pt x="1060450" y="1079500"/>
                  </a:cubicBezTo>
                  <a:cubicBezTo>
                    <a:pt x="1053649" y="1055697"/>
                    <a:pt x="1052713" y="1062345"/>
                    <a:pt x="1047750" y="1035050"/>
                  </a:cubicBezTo>
                  <a:cubicBezTo>
                    <a:pt x="1034561" y="962510"/>
                    <a:pt x="1050557" y="1018070"/>
                    <a:pt x="1028700" y="952500"/>
                  </a:cubicBezTo>
                  <a:cubicBezTo>
                    <a:pt x="1026583" y="946150"/>
                    <a:pt x="1023973" y="939944"/>
                    <a:pt x="1022350" y="933450"/>
                  </a:cubicBezTo>
                  <a:cubicBezTo>
                    <a:pt x="1020233" y="924983"/>
                    <a:pt x="1019903" y="915856"/>
                    <a:pt x="1016000" y="908050"/>
                  </a:cubicBezTo>
                  <a:cubicBezTo>
                    <a:pt x="1009174" y="894398"/>
                    <a:pt x="990600" y="869950"/>
                    <a:pt x="990600" y="869950"/>
                  </a:cubicBezTo>
                  <a:cubicBezTo>
                    <a:pt x="994833" y="863600"/>
                    <a:pt x="996828" y="854945"/>
                    <a:pt x="1003300" y="850900"/>
                  </a:cubicBezTo>
                  <a:cubicBezTo>
                    <a:pt x="1014652" y="843805"/>
                    <a:pt x="1041400" y="838200"/>
                    <a:pt x="1041400" y="838200"/>
                  </a:cubicBezTo>
                  <a:cubicBezTo>
                    <a:pt x="1045633" y="831850"/>
                    <a:pt x="1055597" y="826634"/>
                    <a:pt x="1054100" y="819150"/>
                  </a:cubicBezTo>
                  <a:cubicBezTo>
                    <a:pt x="1052603" y="811666"/>
                    <a:pt x="1040913" y="811336"/>
                    <a:pt x="1035050" y="806450"/>
                  </a:cubicBezTo>
                  <a:cubicBezTo>
                    <a:pt x="1028151" y="800701"/>
                    <a:pt x="1022350" y="793750"/>
                    <a:pt x="1016000" y="787400"/>
                  </a:cubicBezTo>
                  <a:cubicBezTo>
                    <a:pt x="1001654" y="744362"/>
                    <a:pt x="1017893" y="796866"/>
                    <a:pt x="1003300" y="723900"/>
                  </a:cubicBezTo>
                  <a:cubicBezTo>
                    <a:pt x="997980" y="697299"/>
                    <a:pt x="996737" y="710774"/>
                    <a:pt x="984250" y="685800"/>
                  </a:cubicBezTo>
                  <a:cubicBezTo>
                    <a:pt x="981257" y="679813"/>
                    <a:pt x="982633" y="671483"/>
                    <a:pt x="977900" y="666750"/>
                  </a:cubicBezTo>
                  <a:cubicBezTo>
                    <a:pt x="967107" y="655957"/>
                    <a:pt x="939800" y="641350"/>
                    <a:pt x="939800" y="641350"/>
                  </a:cubicBezTo>
                  <a:cubicBezTo>
                    <a:pt x="925167" y="643789"/>
                    <a:pt x="898282" y="646234"/>
                    <a:pt x="882650" y="654050"/>
                  </a:cubicBezTo>
                  <a:cubicBezTo>
                    <a:pt x="875824" y="657463"/>
                    <a:pt x="870426" y="663337"/>
                    <a:pt x="863600" y="666750"/>
                  </a:cubicBezTo>
                  <a:cubicBezTo>
                    <a:pt x="854490" y="671305"/>
                    <a:pt x="827288" y="677415"/>
                    <a:pt x="819150" y="679450"/>
                  </a:cubicBezTo>
                  <a:cubicBezTo>
                    <a:pt x="810683" y="677333"/>
                    <a:pt x="801772" y="676538"/>
                    <a:pt x="793750" y="673100"/>
                  </a:cubicBezTo>
                  <a:cubicBezTo>
                    <a:pt x="778643" y="666625"/>
                    <a:pt x="768641" y="656291"/>
                    <a:pt x="762000" y="641350"/>
                  </a:cubicBezTo>
                  <a:cubicBezTo>
                    <a:pt x="756563" y="629117"/>
                    <a:pt x="749300" y="603250"/>
                    <a:pt x="749300" y="603250"/>
                  </a:cubicBezTo>
                  <a:cubicBezTo>
                    <a:pt x="751417" y="596900"/>
                    <a:pt x="751469" y="589427"/>
                    <a:pt x="755650" y="584200"/>
                  </a:cubicBezTo>
                  <a:cubicBezTo>
                    <a:pt x="764602" y="573009"/>
                    <a:pt x="781201" y="569333"/>
                    <a:pt x="793750" y="565150"/>
                  </a:cubicBezTo>
                  <a:cubicBezTo>
                    <a:pt x="795867" y="558800"/>
                    <a:pt x="800839" y="552753"/>
                    <a:pt x="800100" y="546100"/>
                  </a:cubicBezTo>
                  <a:cubicBezTo>
                    <a:pt x="798622" y="532795"/>
                    <a:pt x="787400" y="508000"/>
                    <a:pt x="787400" y="508000"/>
                  </a:cubicBezTo>
                  <a:cubicBezTo>
                    <a:pt x="812798" y="499534"/>
                    <a:pt x="802474" y="499187"/>
                    <a:pt x="831850" y="508000"/>
                  </a:cubicBezTo>
                  <a:cubicBezTo>
                    <a:pt x="844672" y="511847"/>
                    <a:pt x="869950" y="520700"/>
                    <a:pt x="869950" y="520700"/>
                  </a:cubicBezTo>
                  <a:cubicBezTo>
                    <a:pt x="872067" y="514350"/>
                    <a:pt x="876300" y="508343"/>
                    <a:pt x="876300" y="501650"/>
                  </a:cubicBezTo>
                  <a:cubicBezTo>
                    <a:pt x="876300" y="494957"/>
                    <a:pt x="866506" y="488340"/>
                    <a:pt x="869950" y="482600"/>
                  </a:cubicBezTo>
                  <a:cubicBezTo>
                    <a:pt x="874820" y="474483"/>
                    <a:pt x="886883" y="474133"/>
                    <a:pt x="895350" y="469900"/>
                  </a:cubicBezTo>
                  <a:cubicBezTo>
                    <a:pt x="899583" y="463550"/>
                    <a:pt x="909706" y="458300"/>
                    <a:pt x="908050" y="450850"/>
                  </a:cubicBezTo>
                  <a:cubicBezTo>
                    <a:pt x="904739" y="435950"/>
                    <a:pt x="887477" y="427230"/>
                    <a:pt x="882650" y="412750"/>
                  </a:cubicBezTo>
                  <a:cubicBezTo>
                    <a:pt x="880533" y="406400"/>
                    <a:pt x="877923" y="400194"/>
                    <a:pt x="876300" y="393700"/>
                  </a:cubicBezTo>
                  <a:cubicBezTo>
                    <a:pt x="873682" y="383229"/>
                    <a:pt x="873740" y="372056"/>
                    <a:pt x="869950" y="361950"/>
                  </a:cubicBezTo>
                  <a:cubicBezTo>
                    <a:pt x="867270" y="354804"/>
                    <a:pt x="861483" y="349250"/>
                    <a:pt x="857250" y="342900"/>
                  </a:cubicBezTo>
                  <a:cubicBezTo>
                    <a:pt x="850631" y="316424"/>
                    <a:pt x="843902" y="303084"/>
                    <a:pt x="857250" y="273050"/>
                  </a:cubicBezTo>
                  <a:cubicBezTo>
                    <a:pt x="861532" y="263416"/>
                    <a:pt x="886897" y="256818"/>
                    <a:pt x="895350" y="254000"/>
                  </a:cubicBezTo>
                  <a:cubicBezTo>
                    <a:pt x="922243" y="236072"/>
                    <a:pt x="935600" y="235314"/>
                    <a:pt x="908050" y="184150"/>
                  </a:cubicBezTo>
                  <a:cubicBezTo>
                    <a:pt x="900814" y="170711"/>
                    <a:pt x="869950" y="158750"/>
                    <a:pt x="869950" y="158750"/>
                  </a:cubicBezTo>
                  <a:cubicBezTo>
                    <a:pt x="853271" y="133731"/>
                    <a:pt x="853618" y="137872"/>
                    <a:pt x="844550" y="101600"/>
                  </a:cubicBezTo>
                  <a:cubicBezTo>
                    <a:pt x="843703" y="98213"/>
                    <a:pt x="835494" y="62616"/>
                    <a:pt x="831850" y="57150"/>
                  </a:cubicBezTo>
                  <a:cubicBezTo>
                    <a:pt x="824828" y="46617"/>
                    <a:pt x="805464" y="31257"/>
                    <a:pt x="793750" y="25400"/>
                  </a:cubicBezTo>
                  <a:cubicBezTo>
                    <a:pt x="787763" y="22407"/>
                    <a:pt x="781050" y="21167"/>
                    <a:pt x="774700" y="19050"/>
                  </a:cubicBezTo>
                  <a:cubicBezTo>
                    <a:pt x="772583" y="12700"/>
                    <a:pt x="775043" y="0"/>
                    <a:pt x="768350" y="0"/>
                  </a:cubicBezTo>
                  <a:cubicBezTo>
                    <a:pt x="760718" y="0"/>
                    <a:pt x="758063" y="11810"/>
                    <a:pt x="755650" y="19050"/>
                  </a:cubicBezTo>
                  <a:cubicBezTo>
                    <a:pt x="751579" y="31264"/>
                    <a:pt x="755058" y="45634"/>
                    <a:pt x="749300" y="57150"/>
                  </a:cubicBezTo>
                  <a:cubicBezTo>
                    <a:pt x="745887" y="63976"/>
                    <a:pt x="736600" y="65617"/>
                    <a:pt x="730250" y="69850"/>
                  </a:cubicBezTo>
                  <a:cubicBezTo>
                    <a:pt x="726017" y="76200"/>
                    <a:pt x="720963" y="82074"/>
                    <a:pt x="717550" y="88900"/>
                  </a:cubicBezTo>
                  <a:cubicBezTo>
                    <a:pt x="707269" y="109461"/>
                    <a:pt x="718499" y="110769"/>
                    <a:pt x="692150" y="120650"/>
                  </a:cubicBezTo>
                  <a:cubicBezTo>
                    <a:pt x="682044" y="124440"/>
                    <a:pt x="670936" y="124659"/>
                    <a:pt x="660400" y="127000"/>
                  </a:cubicBezTo>
                  <a:cubicBezTo>
                    <a:pt x="651881" y="128893"/>
                    <a:pt x="643359" y="130842"/>
                    <a:pt x="635000" y="133350"/>
                  </a:cubicBezTo>
                  <a:cubicBezTo>
                    <a:pt x="622178" y="137197"/>
                    <a:pt x="596900" y="146050"/>
                    <a:pt x="596900" y="146050"/>
                  </a:cubicBezTo>
                  <a:cubicBezTo>
                    <a:pt x="584200" y="154517"/>
                    <a:pt x="562502" y="156642"/>
                    <a:pt x="558800" y="171450"/>
                  </a:cubicBezTo>
                  <a:cubicBezTo>
                    <a:pt x="556683" y="179917"/>
                    <a:pt x="557902" y="190035"/>
                    <a:pt x="552450" y="196850"/>
                  </a:cubicBezTo>
                  <a:cubicBezTo>
                    <a:pt x="548269" y="202077"/>
                    <a:pt x="540016" y="202182"/>
                    <a:pt x="533400" y="203200"/>
                  </a:cubicBezTo>
                  <a:cubicBezTo>
                    <a:pt x="512375" y="206435"/>
                    <a:pt x="491067" y="207433"/>
                    <a:pt x="469900" y="209550"/>
                  </a:cubicBezTo>
                  <a:lnTo>
                    <a:pt x="431800" y="222250"/>
                  </a:lnTo>
                  <a:lnTo>
                    <a:pt x="412750" y="228600"/>
                  </a:lnTo>
                  <a:cubicBezTo>
                    <a:pt x="360461" y="263459"/>
                    <a:pt x="420381" y="217881"/>
                    <a:pt x="387350" y="260350"/>
                  </a:cubicBezTo>
                  <a:cubicBezTo>
                    <a:pt x="376323" y="274527"/>
                    <a:pt x="359213" y="283506"/>
                    <a:pt x="349250" y="298450"/>
                  </a:cubicBezTo>
                  <a:cubicBezTo>
                    <a:pt x="345017" y="304800"/>
                    <a:pt x="342293" y="312474"/>
                    <a:pt x="336550" y="317500"/>
                  </a:cubicBezTo>
                  <a:cubicBezTo>
                    <a:pt x="325063" y="327551"/>
                    <a:pt x="298450" y="342900"/>
                    <a:pt x="298450" y="342900"/>
                  </a:cubicBezTo>
                  <a:cubicBezTo>
                    <a:pt x="296333" y="349250"/>
                    <a:pt x="297547" y="358059"/>
                    <a:pt x="292100" y="361950"/>
                  </a:cubicBezTo>
                  <a:cubicBezTo>
                    <a:pt x="281207" y="369731"/>
                    <a:pt x="254000" y="374650"/>
                    <a:pt x="254000" y="374650"/>
                  </a:cubicBezTo>
                  <a:lnTo>
                    <a:pt x="203200" y="368300"/>
                  </a:lnTo>
                  <a:cubicBezTo>
                    <a:pt x="190454" y="366479"/>
                    <a:pt x="177975" y="361950"/>
                    <a:pt x="165100" y="361950"/>
                  </a:cubicBezTo>
                  <a:cubicBezTo>
                    <a:pt x="122824" y="361950"/>
                    <a:pt x="119592" y="353483"/>
                    <a:pt x="114300" y="3556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8" name="Freeform 27"/>
            <p:cNvSpPr/>
            <p:nvPr>
              <p:custDataLst>
                <p:tags r:id="rId16"/>
              </p:custDataLst>
            </p:nvPr>
          </p:nvSpPr>
          <p:spPr bwMode="gray">
            <a:xfrm>
              <a:off x="2762558" y="4718050"/>
              <a:ext cx="468191" cy="374650"/>
            </a:xfrm>
            <a:custGeom>
              <a:avLst/>
              <a:gdLst>
                <a:gd name="connsiteX0" fmla="*/ 4641 w 468191"/>
                <a:gd name="connsiteY0" fmla="*/ 63500 h 374650"/>
                <a:gd name="connsiteX1" fmla="*/ 10991 w 468191"/>
                <a:gd name="connsiteY1" fmla="*/ 101600 h 374650"/>
                <a:gd name="connsiteX2" fmla="*/ 17341 w 468191"/>
                <a:gd name="connsiteY2" fmla="*/ 120650 h 374650"/>
                <a:gd name="connsiteX3" fmla="*/ 55441 w 468191"/>
                <a:gd name="connsiteY3" fmla="*/ 127000 h 374650"/>
                <a:gd name="connsiteX4" fmla="*/ 80841 w 468191"/>
                <a:gd name="connsiteY4" fmla="*/ 139700 h 374650"/>
                <a:gd name="connsiteX5" fmla="*/ 87191 w 468191"/>
                <a:gd name="connsiteY5" fmla="*/ 165100 h 374650"/>
                <a:gd name="connsiteX6" fmla="*/ 93541 w 468191"/>
                <a:gd name="connsiteY6" fmla="*/ 184150 h 374650"/>
                <a:gd name="connsiteX7" fmla="*/ 99891 w 468191"/>
                <a:gd name="connsiteY7" fmla="*/ 215900 h 374650"/>
                <a:gd name="connsiteX8" fmla="*/ 137991 w 468191"/>
                <a:gd name="connsiteY8" fmla="*/ 241300 h 374650"/>
                <a:gd name="connsiteX9" fmla="*/ 144341 w 468191"/>
                <a:gd name="connsiteY9" fmla="*/ 266700 h 374650"/>
                <a:gd name="connsiteX10" fmla="*/ 150691 w 468191"/>
                <a:gd name="connsiteY10" fmla="*/ 285750 h 374650"/>
                <a:gd name="connsiteX11" fmla="*/ 157041 w 468191"/>
                <a:gd name="connsiteY11" fmla="*/ 317500 h 374650"/>
                <a:gd name="connsiteX12" fmla="*/ 195141 w 468191"/>
                <a:gd name="connsiteY12" fmla="*/ 336550 h 374650"/>
                <a:gd name="connsiteX13" fmla="*/ 233241 w 468191"/>
                <a:gd name="connsiteY13" fmla="*/ 330200 h 374650"/>
                <a:gd name="connsiteX14" fmla="*/ 220541 w 468191"/>
                <a:gd name="connsiteY14" fmla="*/ 292100 h 374650"/>
                <a:gd name="connsiteX15" fmla="*/ 239591 w 468191"/>
                <a:gd name="connsiteY15" fmla="*/ 279400 h 374650"/>
                <a:gd name="connsiteX16" fmla="*/ 258641 w 468191"/>
                <a:gd name="connsiteY16" fmla="*/ 292100 h 374650"/>
                <a:gd name="connsiteX17" fmla="*/ 290391 w 468191"/>
                <a:gd name="connsiteY17" fmla="*/ 330200 h 374650"/>
                <a:gd name="connsiteX18" fmla="*/ 303091 w 468191"/>
                <a:gd name="connsiteY18" fmla="*/ 374650 h 374650"/>
                <a:gd name="connsiteX19" fmla="*/ 334841 w 468191"/>
                <a:gd name="connsiteY19" fmla="*/ 368300 h 374650"/>
                <a:gd name="connsiteX20" fmla="*/ 347541 w 468191"/>
                <a:gd name="connsiteY20" fmla="*/ 349250 h 374650"/>
                <a:gd name="connsiteX21" fmla="*/ 385641 w 468191"/>
                <a:gd name="connsiteY21" fmla="*/ 355600 h 374650"/>
                <a:gd name="connsiteX22" fmla="*/ 430091 w 468191"/>
                <a:gd name="connsiteY22" fmla="*/ 355600 h 374650"/>
                <a:gd name="connsiteX23" fmla="*/ 436441 w 468191"/>
                <a:gd name="connsiteY23" fmla="*/ 336550 h 374650"/>
                <a:gd name="connsiteX24" fmla="*/ 449141 w 468191"/>
                <a:gd name="connsiteY24" fmla="*/ 273050 h 374650"/>
                <a:gd name="connsiteX25" fmla="*/ 468191 w 468191"/>
                <a:gd name="connsiteY25" fmla="*/ 254000 h 374650"/>
                <a:gd name="connsiteX26" fmla="*/ 461841 w 468191"/>
                <a:gd name="connsiteY26" fmla="*/ 222250 h 374650"/>
                <a:gd name="connsiteX27" fmla="*/ 442791 w 468191"/>
                <a:gd name="connsiteY27" fmla="*/ 203200 h 374650"/>
                <a:gd name="connsiteX28" fmla="*/ 417391 w 468191"/>
                <a:gd name="connsiteY28" fmla="*/ 165100 h 374650"/>
                <a:gd name="connsiteX29" fmla="*/ 404691 w 468191"/>
                <a:gd name="connsiteY29" fmla="*/ 146050 h 374650"/>
                <a:gd name="connsiteX30" fmla="*/ 398341 w 468191"/>
                <a:gd name="connsiteY30" fmla="*/ 120650 h 374650"/>
                <a:gd name="connsiteX31" fmla="*/ 411041 w 468191"/>
                <a:gd name="connsiteY31" fmla="*/ 63500 h 374650"/>
                <a:gd name="connsiteX32" fmla="*/ 334841 w 468191"/>
                <a:gd name="connsiteY32" fmla="*/ 38100 h 374650"/>
                <a:gd name="connsiteX33" fmla="*/ 296741 w 468191"/>
                <a:gd name="connsiteY33" fmla="*/ 0 h 374650"/>
                <a:gd name="connsiteX34" fmla="*/ 233241 w 468191"/>
                <a:gd name="connsiteY34" fmla="*/ 12700 h 374650"/>
                <a:gd name="connsiteX35" fmla="*/ 195141 w 468191"/>
                <a:gd name="connsiteY35" fmla="*/ 38100 h 374650"/>
                <a:gd name="connsiteX36" fmla="*/ 182441 w 468191"/>
                <a:gd name="connsiteY36" fmla="*/ 57150 h 374650"/>
                <a:gd name="connsiteX37" fmla="*/ 36391 w 468191"/>
                <a:gd name="connsiteY37" fmla="*/ 76200 h 374650"/>
                <a:gd name="connsiteX38" fmla="*/ 4641 w 468191"/>
                <a:gd name="connsiteY38" fmla="*/ 6350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8191" h="374650">
                  <a:moveTo>
                    <a:pt x="4641" y="63500"/>
                  </a:moveTo>
                  <a:cubicBezTo>
                    <a:pt x="408" y="67733"/>
                    <a:pt x="8198" y="89031"/>
                    <a:pt x="10991" y="101600"/>
                  </a:cubicBezTo>
                  <a:cubicBezTo>
                    <a:pt x="12443" y="108134"/>
                    <a:pt x="11529" y="117329"/>
                    <a:pt x="17341" y="120650"/>
                  </a:cubicBezTo>
                  <a:cubicBezTo>
                    <a:pt x="28520" y="127038"/>
                    <a:pt x="42741" y="124883"/>
                    <a:pt x="55441" y="127000"/>
                  </a:cubicBezTo>
                  <a:cubicBezTo>
                    <a:pt x="63908" y="131233"/>
                    <a:pt x="74781" y="132428"/>
                    <a:pt x="80841" y="139700"/>
                  </a:cubicBezTo>
                  <a:cubicBezTo>
                    <a:pt x="86428" y="146404"/>
                    <a:pt x="84793" y="156709"/>
                    <a:pt x="87191" y="165100"/>
                  </a:cubicBezTo>
                  <a:cubicBezTo>
                    <a:pt x="89030" y="171536"/>
                    <a:pt x="91918" y="177656"/>
                    <a:pt x="93541" y="184150"/>
                  </a:cubicBezTo>
                  <a:cubicBezTo>
                    <a:pt x="96159" y="194621"/>
                    <a:pt x="93265" y="207381"/>
                    <a:pt x="99891" y="215900"/>
                  </a:cubicBezTo>
                  <a:cubicBezTo>
                    <a:pt x="109262" y="227948"/>
                    <a:pt x="137991" y="241300"/>
                    <a:pt x="137991" y="241300"/>
                  </a:cubicBezTo>
                  <a:cubicBezTo>
                    <a:pt x="140108" y="249767"/>
                    <a:pt x="141943" y="258309"/>
                    <a:pt x="144341" y="266700"/>
                  </a:cubicBezTo>
                  <a:cubicBezTo>
                    <a:pt x="146180" y="273136"/>
                    <a:pt x="149068" y="279256"/>
                    <a:pt x="150691" y="285750"/>
                  </a:cubicBezTo>
                  <a:cubicBezTo>
                    <a:pt x="153309" y="296221"/>
                    <a:pt x="151686" y="308129"/>
                    <a:pt x="157041" y="317500"/>
                  </a:cubicBezTo>
                  <a:cubicBezTo>
                    <a:pt x="162834" y="327637"/>
                    <a:pt x="185363" y="333291"/>
                    <a:pt x="195141" y="336550"/>
                  </a:cubicBezTo>
                  <a:cubicBezTo>
                    <a:pt x="207841" y="334433"/>
                    <a:pt x="226853" y="341379"/>
                    <a:pt x="233241" y="330200"/>
                  </a:cubicBezTo>
                  <a:cubicBezTo>
                    <a:pt x="239883" y="318577"/>
                    <a:pt x="220541" y="292100"/>
                    <a:pt x="220541" y="292100"/>
                  </a:cubicBezTo>
                  <a:cubicBezTo>
                    <a:pt x="226891" y="287867"/>
                    <a:pt x="231959" y="279400"/>
                    <a:pt x="239591" y="279400"/>
                  </a:cubicBezTo>
                  <a:cubicBezTo>
                    <a:pt x="247223" y="279400"/>
                    <a:pt x="252778" y="287214"/>
                    <a:pt x="258641" y="292100"/>
                  </a:cubicBezTo>
                  <a:cubicBezTo>
                    <a:pt x="270678" y="302131"/>
                    <a:pt x="283255" y="315929"/>
                    <a:pt x="290391" y="330200"/>
                  </a:cubicBezTo>
                  <a:cubicBezTo>
                    <a:pt x="294946" y="339310"/>
                    <a:pt x="301056" y="366512"/>
                    <a:pt x="303091" y="374650"/>
                  </a:cubicBezTo>
                  <a:cubicBezTo>
                    <a:pt x="313674" y="372533"/>
                    <a:pt x="325470" y="373655"/>
                    <a:pt x="334841" y="368300"/>
                  </a:cubicBezTo>
                  <a:cubicBezTo>
                    <a:pt x="341467" y="364514"/>
                    <a:pt x="340137" y="351101"/>
                    <a:pt x="347541" y="349250"/>
                  </a:cubicBezTo>
                  <a:cubicBezTo>
                    <a:pt x="360032" y="346127"/>
                    <a:pt x="372941" y="353483"/>
                    <a:pt x="385641" y="355600"/>
                  </a:cubicBezTo>
                  <a:cubicBezTo>
                    <a:pt x="401099" y="360753"/>
                    <a:pt x="413675" y="368733"/>
                    <a:pt x="430091" y="355600"/>
                  </a:cubicBezTo>
                  <a:cubicBezTo>
                    <a:pt x="435318" y="351419"/>
                    <a:pt x="434324" y="342900"/>
                    <a:pt x="436441" y="336550"/>
                  </a:cubicBezTo>
                  <a:cubicBezTo>
                    <a:pt x="436979" y="332786"/>
                    <a:pt x="441081" y="285141"/>
                    <a:pt x="449141" y="273050"/>
                  </a:cubicBezTo>
                  <a:cubicBezTo>
                    <a:pt x="454122" y="265578"/>
                    <a:pt x="461841" y="260350"/>
                    <a:pt x="468191" y="254000"/>
                  </a:cubicBezTo>
                  <a:cubicBezTo>
                    <a:pt x="466074" y="243417"/>
                    <a:pt x="466668" y="231903"/>
                    <a:pt x="461841" y="222250"/>
                  </a:cubicBezTo>
                  <a:cubicBezTo>
                    <a:pt x="457825" y="214218"/>
                    <a:pt x="448304" y="210289"/>
                    <a:pt x="442791" y="203200"/>
                  </a:cubicBezTo>
                  <a:cubicBezTo>
                    <a:pt x="433420" y="191152"/>
                    <a:pt x="425858" y="177800"/>
                    <a:pt x="417391" y="165100"/>
                  </a:cubicBezTo>
                  <a:lnTo>
                    <a:pt x="404691" y="146050"/>
                  </a:lnTo>
                  <a:cubicBezTo>
                    <a:pt x="402574" y="137583"/>
                    <a:pt x="398341" y="129377"/>
                    <a:pt x="398341" y="120650"/>
                  </a:cubicBezTo>
                  <a:cubicBezTo>
                    <a:pt x="398341" y="98299"/>
                    <a:pt x="404493" y="83145"/>
                    <a:pt x="411041" y="63500"/>
                  </a:cubicBezTo>
                  <a:cubicBezTo>
                    <a:pt x="394582" y="14123"/>
                    <a:pt x="420842" y="73512"/>
                    <a:pt x="334841" y="38100"/>
                  </a:cubicBezTo>
                  <a:cubicBezTo>
                    <a:pt x="318233" y="31262"/>
                    <a:pt x="296741" y="0"/>
                    <a:pt x="296741" y="0"/>
                  </a:cubicBezTo>
                  <a:cubicBezTo>
                    <a:pt x="285698" y="1578"/>
                    <a:pt x="248587" y="4175"/>
                    <a:pt x="233241" y="12700"/>
                  </a:cubicBezTo>
                  <a:cubicBezTo>
                    <a:pt x="219898" y="20113"/>
                    <a:pt x="195141" y="38100"/>
                    <a:pt x="195141" y="38100"/>
                  </a:cubicBezTo>
                  <a:cubicBezTo>
                    <a:pt x="190908" y="44450"/>
                    <a:pt x="188304" y="52264"/>
                    <a:pt x="182441" y="57150"/>
                  </a:cubicBezTo>
                  <a:cubicBezTo>
                    <a:pt x="147245" y="86480"/>
                    <a:pt x="54924" y="75225"/>
                    <a:pt x="36391" y="76200"/>
                  </a:cubicBezTo>
                  <a:cubicBezTo>
                    <a:pt x="0" y="83478"/>
                    <a:pt x="8874" y="59267"/>
                    <a:pt x="4641" y="6350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29" name="Freeform 28"/>
            <p:cNvSpPr/>
            <p:nvPr>
              <p:custDataLst>
                <p:tags r:id="rId17"/>
              </p:custDataLst>
            </p:nvPr>
          </p:nvSpPr>
          <p:spPr bwMode="gray">
            <a:xfrm>
              <a:off x="4675391" y="1422400"/>
              <a:ext cx="1590658" cy="928047"/>
            </a:xfrm>
            <a:custGeom>
              <a:avLst/>
              <a:gdLst>
                <a:gd name="connsiteX0" fmla="*/ 269858 w 1590658"/>
                <a:gd name="connsiteY0" fmla="*/ 920750 h 928047"/>
                <a:gd name="connsiteX1" fmla="*/ 307958 w 1590658"/>
                <a:gd name="connsiteY1" fmla="*/ 914400 h 928047"/>
                <a:gd name="connsiteX2" fmla="*/ 327008 w 1590658"/>
                <a:gd name="connsiteY2" fmla="*/ 908050 h 928047"/>
                <a:gd name="connsiteX3" fmla="*/ 384158 w 1590658"/>
                <a:gd name="connsiteY3" fmla="*/ 914400 h 928047"/>
                <a:gd name="connsiteX4" fmla="*/ 390508 w 1590658"/>
                <a:gd name="connsiteY4" fmla="*/ 895350 h 928047"/>
                <a:gd name="connsiteX5" fmla="*/ 403208 w 1590658"/>
                <a:gd name="connsiteY5" fmla="*/ 876300 h 928047"/>
                <a:gd name="connsiteX6" fmla="*/ 428608 w 1590658"/>
                <a:gd name="connsiteY6" fmla="*/ 831850 h 928047"/>
                <a:gd name="connsiteX7" fmla="*/ 454008 w 1590658"/>
                <a:gd name="connsiteY7" fmla="*/ 838200 h 928047"/>
                <a:gd name="connsiteX8" fmla="*/ 473058 w 1590658"/>
                <a:gd name="connsiteY8" fmla="*/ 850900 h 928047"/>
                <a:gd name="connsiteX9" fmla="*/ 492108 w 1590658"/>
                <a:gd name="connsiteY9" fmla="*/ 857250 h 928047"/>
                <a:gd name="connsiteX10" fmla="*/ 511158 w 1590658"/>
                <a:gd name="connsiteY10" fmla="*/ 831850 h 928047"/>
                <a:gd name="connsiteX11" fmla="*/ 568308 w 1590658"/>
                <a:gd name="connsiteY11" fmla="*/ 812800 h 928047"/>
                <a:gd name="connsiteX12" fmla="*/ 581008 w 1590658"/>
                <a:gd name="connsiteY12" fmla="*/ 768350 h 928047"/>
                <a:gd name="connsiteX13" fmla="*/ 600058 w 1590658"/>
                <a:gd name="connsiteY13" fmla="*/ 755650 h 928047"/>
                <a:gd name="connsiteX14" fmla="*/ 669908 w 1590658"/>
                <a:gd name="connsiteY14" fmla="*/ 762000 h 928047"/>
                <a:gd name="connsiteX15" fmla="*/ 708008 w 1590658"/>
                <a:gd name="connsiteY15" fmla="*/ 774700 h 928047"/>
                <a:gd name="connsiteX16" fmla="*/ 746108 w 1590658"/>
                <a:gd name="connsiteY16" fmla="*/ 806450 h 928047"/>
                <a:gd name="connsiteX17" fmla="*/ 758808 w 1590658"/>
                <a:gd name="connsiteY17" fmla="*/ 825500 h 928047"/>
                <a:gd name="connsiteX18" fmla="*/ 784208 w 1590658"/>
                <a:gd name="connsiteY18" fmla="*/ 831850 h 928047"/>
                <a:gd name="connsiteX19" fmla="*/ 822308 w 1590658"/>
                <a:gd name="connsiteY19" fmla="*/ 819150 h 928047"/>
                <a:gd name="connsiteX20" fmla="*/ 841358 w 1590658"/>
                <a:gd name="connsiteY20" fmla="*/ 812800 h 928047"/>
                <a:gd name="connsiteX21" fmla="*/ 860408 w 1590658"/>
                <a:gd name="connsiteY21" fmla="*/ 819150 h 928047"/>
                <a:gd name="connsiteX22" fmla="*/ 904858 w 1590658"/>
                <a:gd name="connsiteY22" fmla="*/ 869950 h 928047"/>
                <a:gd name="connsiteX23" fmla="*/ 936608 w 1590658"/>
                <a:gd name="connsiteY23" fmla="*/ 863600 h 928047"/>
                <a:gd name="connsiteX24" fmla="*/ 962008 w 1590658"/>
                <a:gd name="connsiteY24" fmla="*/ 857250 h 928047"/>
                <a:gd name="connsiteX25" fmla="*/ 981058 w 1590658"/>
                <a:gd name="connsiteY25" fmla="*/ 863600 h 928047"/>
                <a:gd name="connsiteX26" fmla="*/ 1019158 w 1590658"/>
                <a:gd name="connsiteY26" fmla="*/ 844550 h 928047"/>
                <a:gd name="connsiteX27" fmla="*/ 1050908 w 1590658"/>
                <a:gd name="connsiteY27" fmla="*/ 812800 h 928047"/>
                <a:gd name="connsiteX28" fmla="*/ 1069958 w 1590658"/>
                <a:gd name="connsiteY28" fmla="*/ 825500 h 928047"/>
                <a:gd name="connsiteX29" fmla="*/ 1095358 w 1590658"/>
                <a:gd name="connsiteY29" fmla="*/ 838200 h 928047"/>
                <a:gd name="connsiteX30" fmla="*/ 1120758 w 1590658"/>
                <a:gd name="connsiteY30" fmla="*/ 806450 h 928047"/>
                <a:gd name="connsiteX31" fmla="*/ 1146158 w 1590658"/>
                <a:gd name="connsiteY31" fmla="*/ 812800 h 928047"/>
                <a:gd name="connsiteX32" fmla="*/ 1165208 w 1590658"/>
                <a:gd name="connsiteY32" fmla="*/ 806450 h 928047"/>
                <a:gd name="connsiteX33" fmla="*/ 1203308 w 1590658"/>
                <a:gd name="connsiteY33" fmla="*/ 774700 h 928047"/>
                <a:gd name="connsiteX34" fmla="*/ 1216008 w 1590658"/>
                <a:gd name="connsiteY34" fmla="*/ 755650 h 928047"/>
                <a:gd name="connsiteX35" fmla="*/ 1235058 w 1590658"/>
                <a:gd name="connsiteY35" fmla="*/ 679450 h 928047"/>
                <a:gd name="connsiteX36" fmla="*/ 1292208 w 1590658"/>
                <a:gd name="connsiteY36" fmla="*/ 641350 h 928047"/>
                <a:gd name="connsiteX37" fmla="*/ 1311258 w 1590658"/>
                <a:gd name="connsiteY37" fmla="*/ 628650 h 928047"/>
                <a:gd name="connsiteX38" fmla="*/ 1336658 w 1590658"/>
                <a:gd name="connsiteY38" fmla="*/ 596900 h 928047"/>
                <a:gd name="connsiteX39" fmla="*/ 1355708 w 1590658"/>
                <a:gd name="connsiteY39" fmla="*/ 609600 h 928047"/>
                <a:gd name="connsiteX40" fmla="*/ 1362058 w 1590658"/>
                <a:gd name="connsiteY40" fmla="*/ 635000 h 928047"/>
                <a:gd name="connsiteX41" fmla="*/ 1374758 w 1590658"/>
                <a:gd name="connsiteY41" fmla="*/ 654050 h 928047"/>
                <a:gd name="connsiteX42" fmla="*/ 1457308 w 1590658"/>
                <a:gd name="connsiteY42" fmla="*/ 673100 h 928047"/>
                <a:gd name="connsiteX43" fmla="*/ 1495408 w 1590658"/>
                <a:gd name="connsiteY43" fmla="*/ 679450 h 928047"/>
                <a:gd name="connsiteX44" fmla="*/ 1508108 w 1590658"/>
                <a:gd name="connsiteY44" fmla="*/ 698500 h 928047"/>
                <a:gd name="connsiteX45" fmla="*/ 1495408 w 1590658"/>
                <a:gd name="connsiteY45" fmla="*/ 755650 h 928047"/>
                <a:gd name="connsiteX46" fmla="*/ 1501758 w 1590658"/>
                <a:gd name="connsiteY46" fmla="*/ 787400 h 928047"/>
                <a:gd name="connsiteX47" fmla="*/ 1539858 w 1590658"/>
                <a:gd name="connsiteY47" fmla="*/ 774700 h 928047"/>
                <a:gd name="connsiteX48" fmla="*/ 1558908 w 1590658"/>
                <a:gd name="connsiteY48" fmla="*/ 762000 h 928047"/>
                <a:gd name="connsiteX49" fmla="*/ 1571608 w 1590658"/>
                <a:gd name="connsiteY49" fmla="*/ 742950 h 928047"/>
                <a:gd name="connsiteX50" fmla="*/ 1590658 w 1590658"/>
                <a:gd name="connsiteY50" fmla="*/ 736600 h 928047"/>
                <a:gd name="connsiteX51" fmla="*/ 1584308 w 1590658"/>
                <a:gd name="connsiteY51" fmla="*/ 692150 h 928047"/>
                <a:gd name="connsiteX52" fmla="*/ 1565258 w 1590658"/>
                <a:gd name="connsiteY52" fmla="*/ 635000 h 928047"/>
                <a:gd name="connsiteX53" fmla="*/ 1558908 w 1590658"/>
                <a:gd name="connsiteY53" fmla="*/ 609600 h 928047"/>
                <a:gd name="connsiteX54" fmla="*/ 1546208 w 1590658"/>
                <a:gd name="connsiteY54" fmla="*/ 590550 h 928047"/>
                <a:gd name="connsiteX55" fmla="*/ 1539858 w 1590658"/>
                <a:gd name="connsiteY55" fmla="*/ 571500 h 928047"/>
                <a:gd name="connsiteX56" fmla="*/ 1533508 w 1590658"/>
                <a:gd name="connsiteY56" fmla="*/ 457200 h 928047"/>
                <a:gd name="connsiteX57" fmla="*/ 1514458 w 1590658"/>
                <a:gd name="connsiteY57" fmla="*/ 438150 h 928047"/>
                <a:gd name="connsiteX58" fmla="*/ 1463658 w 1590658"/>
                <a:gd name="connsiteY58" fmla="*/ 444500 h 928047"/>
                <a:gd name="connsiteX59" fmla="*/ 1419208 w 1590658"/>
                <a:gd name="connsiteY59" fmla="*/ 438150 h 928047"/>
                <a:gd name="connsiteX60" fmla="*/ 1400158 w 1590658"/>
                <a:gd name="connsiteY60" fmla="*/ 431800 h 928047"/>
                <a:gd name="connsiteX61" fmla="*/ 1368408 w 1590658"/>
                <a:gd name="connsiteY61" fmla="*/ 406400 h 928047"/>
                <a:gd name="connsiteX62" fmla="*/ 1349358 w 1590658"/>
                <a:gd name="connsiteY62" fmla="*/ 393700 h 928047"/>
                <a:gd name="connsiteX63" fmla="*/ 1355708 w 1590658"/>
                <a:gd name="connsiteY63" fmla="*/ 374650 h 928047"/>
                <a:gd name="connsiteX64" fmla="*/ 1438258 w 1590658"/>
                <a:gd name="connsiteY64" fmla="*/ 368300 h 928047"/>
                <a:gd name="connsiteX65" fmla="*/ 1457308 w 1590658"/>
                <a:gd name="connsiteY65" fmla="*/ 355600 h 928047"/>
                <a:gd name="connsiteX66" fmla="*/ 1470008 w 1590658"/>
                <a:gd name="connsiteY66" fmla="*/ 317500 h 928047"/>
                <a:gd name="connsiteX67" fmla="*/ 1450958 w 1590658"/>
                <a:gd name="connsiteY67" fmla="*/ 298450 h 928047"/>
                <a:gd name="connsiteX68" fmla="*/ 1438258 w 1590658"/>
                <a:gd name="connsiteY68" fmla="*/ 279400 h 928047"/>
                <a:gd name="connsiteX69" fmla="*/ 1419208 w 1590658"/>
                <a:gd name="connsiteY69" fmla="*/ 273050 h 928047"/>
                <a:gd name="connsiteX70" fmla="*/ 1381108 w 1590658"/>
                <a:gd name="connsiteY70" fmla="*/ 247650 h 928047"/>
                <a:gd name="connsiteX71" fmla="*/ 1343008 w 1590658"/>
                <a:gd name="connsiteY71" fmla="*/ 234950 h 928047"/>
                <a:gd name="connsiteX72" fmla="*/ 1330308 w 1590658"/>
                <a:gd name="connsiteY72" fmla="*/ 215900 h 928047"/>
                <a:gd name="connsiteX73" fmla="*/ 1323958 w 1590658"/>
                <a:gd name="connsiteY73" fmla="*/ 196850 h 928047"/>
                <a:gd name="connsiteX74" fmla="*/ 1304908 w 1590658"/>
                <a:gd name="connsiteY74" fmla="*/ 184150 h 928047"/>
                <a:gd name="connsiteX75" fmla="*/ 1266808 w 1590658"/>
                <a:gd name="connsiteY75" fmla="*/ 196850 h 928047"/>
                <a:gd name="connsiteX76" fmla="*/ 1228708 w 1590658"/>
                <a:gd name="connsiteY76" fmla="*/ 184150 h 928047"/>
                <a:gd name="connsiteX77" fmla="*/ 1196958 w 1590658"/>
                <a:gd name="connsiteY77" fmla="*/ 190500 h 928047"/>
                <a:gd name="connsiteX78" fmla="*/ 1177908 w 1590658"/>
                <a:gd name="connsiteY78" fmla="*/ 196850 h 928047"/>
                <a:gd name="connsiteX79" fmla="*/ 1139808 w 1590658"/>
                <a:gd name="connsiteY79" fmla="*/ 171450 h 928047"/>
                <a:gd name="connsiteX80" fmla="*/ 1120758 w 1590658"/>
                <a:gd name="connsiteY80" fmla="*/ 152400 h 928047"/>
                <a:gd name="connsiteX81" fmla="*/ 1082658 w 1590658"/>
                <a:gd name="connsiteY81" fmla="*/ 127000 h 928047"/>
                <a:gd name="connsiteX82" fmla="*/ 1069958 w 1590658"/>
                <a:gd name="connsiteY82" fmla="*/ 107950 h 928047"/>
                <a:gd name="connsiteX83" fmla="*/ 1031858 w 1590658"/>
                <a:gd name="connsiteY83" fmla="*/ 101600 h 928047"/>
                <a:gd name="connsiteX84" fmla="*/ 1012808 w 1590658"/>
                <a:gd name="connsiteY84" fmla="*/ 88900 h 928047"/>
                <a:gd name="connsiteX85" fmla="*/ 1019158 w 1590658"/>
                <a:gd name="connsiteY85" fmla="*/ 57150 h 928047"/>
                <a:gd name="connsiteX86" fmla="*/ 1025508 w 1590658"/>
                <a:gd name="connsiteY86" fmla="*/ 38100 h 928047"/>
                <a:gd name="connsiteX87" fmla="*/ 987408 w 1590658"/>
                <a:gd name="connsiteY87" fmla="*/ 12700 h 928047"/>
                <a:gd name="connsiteX88" fmla="*/ 949308 w 1590658"/>
                <a:gd name="connsiteY88" fmla="*/ 0 h 928047"/>
                <a:gd name="connsiteX89" fmla="*/ 911208 w 1590658"/>
                <a:gd name="connsiteY89" fmla="*/ 19050 h 928047"/>
                <a:gd name="connsiteX90" fmla="*/ 898508 w 1590658"/>
                <a:gd name="connsiteY90" fmla="*/ 38100 h 928047"/>
                <a:gd name="connsiteX91" fmla="*/ 873108 w 1590658"/>
                <a:gd name="connsiteY91" fmla="*/ 44450 h 928047"/>
                <a:gd name="connsiteX92" fmla="*/ 847708 w 1590658"/>
                <a:gd name="connsiteY92" fmla="*/ 38100 h 928047"/>
                <a:gd name="connsiteX93" fmla="*/ 809608 w 1590658"/>
                <a:gd name="connsiteY93" fmla="*/ 44450 h 928047"/>
                <a:gd name="connsiteX94" fmla="*/ 765158 w 1590658"/>
                <a:gd name="connsiteY94" fmla="*/ 57150 h 928047"/>
                <a:gd name="connsiteX95" fmla="*/ 746108 w 1590658"/>
                <a:gd name="connsiteY95" fmla="*/ 69850 h 928047"/>
                <a:gd name="connsiteX96" fmla="*/ 733408 w 1590658"/>
                <a:gd name="connsiteY96" fmla="*/ 127000 h 928047"/>
                <a:gd name="connsiteX97" fmla="*/ 714358 w 1590658"/>
                <a:gd name="connsiteY97" fmla="*/ 120650 h 928047"/>
                <a:gd name="connsiteX98" fmla="*/ 695308 w 1590658"/>
                <a:gd name="connsiteY98" fmla="*/ 107950 h 928047"/>
                <a:gd name="connsiteX99" fmla="*/ 676258 w 1590658"/>
                <a:gd name="connsiteY99" fmla="*/ 114300 h 928047"/>
                <a:gd name="connsiteX100" fmla="*/ 638158 w 1590658"/>
                <a:gd name="connsiteY100" fmla="*/ 139700 h 928047"/>
                <a:gd name="connsiteX101" fmla="*/ 606408 w 1590658"/>
                <a:gd name="connsiteY101" fmla="*/ 171450 h 928047"/>
                <a:gd name="connsiteX102" fmla="*/ 593708 w 1590658"/>
                <a:gd name="connsiteY102" fmla="*/ 190500 h 928047"/>
                <a:gd name="connsiteX103" fmla="*/ 441308 w 1590658"/>
                <a:gd name="connsiteY103" fmla="*/ 209550 h 928047"/>
                <a:gd name="connsiteX104" fmla="*/ 396858 w 1590658"/>
                <a:gd name="connsiteY104" fmla="*/ 222250 h 928047"/>
                <a:gd name="connsiteX105" fmla="*/ 390508 w 1590658"/>
                <a:gd name="connsiteY105" fmla="*/ 241300 h 928047"/>
                <a:gd name="connsiteX106" fmla="*/ 403208 w 1590658"/>
                <a:gd name="connsiteY106" fmla="*/ 260350 h 928047"/>
                <a:gd name="connsiteX107" fmla="*/ 377808 w 1590658"/>
                <a:gd name="connsiteY107" fmla="*/ 292100 h 928047"/>
                <a:gd name="connsiteX108" fmla="*/ 346058 w 1590658"/>
                <a:gd name="connsiteY108" fmla="*/ 330200 h 928047"/>
                <a:gd name="connsiteX109" fmla="*/ 320658 w 1590658"/>
                <a:gd name="connsiteY109" fmla="*/ 368300 h 928047"/>
                <a:gd name="connsiteX110" fmla="*/ 295258 w 1590658"/>
                <a:gd name="connsiteY110" fmla="*/ 361950 h 928047"/>
                <a:gd name="connsiteX111" fmla="*/ 276208 w 1590658"/>
                <a:gd name="connsiteY111" fmla="*/ 349250 h 928047"/>
                <a:gd name="connsiteX112" fmla="*/ 238108 w 1590658"/>
                <a:gd name="connsiteY112" fmla="*/ 330200 h 928047"/>
                <a:gd name="connsiteX113" fmla="*/ 231758 w 1590658"/>
                <a:gd name="connsiteY113" fmla="*/ 311150 h 928047"/>
                <a:gd name="connsiteX114" fmla="*/ 193658 w 1590658"/>
                <a:gd name="connsiteY114" fmla="*/ 298450 h 928047"/>
                <a:gd name="connsiteX115" fmla="*/ 168258 w 1590658"/>
                <a:gd name="connsiteY115" fmla="*/ 304800 h 928047"/>
                <a:gd name="connsiteX116" fmla="*/ 130158 w 1590658"/>
                <a:gd name="connsiteY116" fmla="*/ 317500 h 928047"/>
                <a:gd name="connsiteX117" fmla="*/ 111108 w 1590658"/>
                <a:gd name="connsiteY117" fmla="*/ 330200 h 928047"/>
                <a:gd name="connsiteX118" fmla="*/ 92058 w 1590658"/>
                <a:gd name="connsiteY118" fmla="*/ 381000 h 928047"/>
                <a:gd name="connsiteX119" fmla="*/ 73008 w 1590658"/>
                <a:gd name="connsiteY119" fmla="*/ 387350 h 928047"/>
                <a:gd name="connsiteX120" fmla="*/ 53958 w 1590658"/>
                <a:gd name="connsiteY120" fmla="*/ 463550 h 928047"/>
                <a:gd name="connsiteX121" fmla="*/ 60308 w 1590658"/>
                <a:gd name="connsiteY121" fmla="*/ 482600 h 928047"/>
                <a:gd name="connsiteX122" fmla="*/ 73008 w 1590658"/>
                <a:gd name="connsiteY122" fmla="*/ 501650 h 928047"/>
                <a:gd name="connsiteX123" fmla="*/ 111108 w 1590658"/>
                <a:gd name="connsiteY123" fmla="*/ 527050 h 928047"/>
                <a:gd name="connsiteX124" fmla="*/ 130158 w 1590658"/>
                <a:gd name="connsiteY124" fmla="*/ 565150 h 928047"/>
                <a:gd name="connsiteX125" fmla="*/ 104758 w 1590658"/>
                <a:gd name="connsiteY125" fmla="*/ 603250 h 928047"/>
                <a:gd name="connsiteX126" fmla="*/ 85708 w 1590658"/>
                <a:gd name="connsiteY126" fmla="*/ 641350 h 928047"/>
                <a:gd name="connsiteX127" fmla="*/ 47608 w 1590658"/>
                <a:gd name="connsiteY127" fmla="*/ 673100 h 928047"/>
                <a:gd name="connsiteX128" fmla="*/ 15858 w 1590658"/>
                <a:gd name="connsiteY128" fmla="*/ 704850 h 928047"/>
                <a:gd name="connsiteX129" fmla="*/ 3158 w 1590658"/>
                <a:gd name="connsiteY129" fmla="*/ 723900 h 928047"/>
                <a:gd name="connsiteX130" fmla="*/ 28558 w 1590658"/>
                <a:gd name="connsiteY130" fmla="*/ 762000 h 928047"/>
                <a:gd name="connsiteX131" fmla="*/ 47608 w 1590658"/>
                <a:gd name="connsiteY131" fmla="*/ 768350 h 928047"/>
                <a:gd name="connsiteX132" fmla="*/ 79358 w 1590658"/>
                <a:gd name="connsiteY132" fmla="*/ 800100 h 928047"/>
                <a:gd name="connsiteX133" fmla="*/ 123808 w 1590658"/>
                <a:gd name="connsiteY133" fmla="*/ 787400 h 928047"/>
                <a:gd name="connsiteX134" fmla="*/ 149208 w 1590658"/>
                <a:gd name="connsiteY134" fmla="*/ 793750 h 928047"/>
                <a:gd name="connsiteX135" fmla="*/ 161908 w 1590658"/>
                <a:gd name="connsiteY135" fmla="*/ 812800 h 928047"/>
                <a:gd name="connsiteX136" fmla="*/ 174608 w 1590658"/>
                <a:gd name="connsiteY136" fmla="*/ 850900 h 928047"/>
                <a:gd name="connsiteX137" fmla="*/ 212708 w 1590658"/>
                <a:gd name="connsiteY137" fmla="*/ 882650 h 928047"/>
                <a:gd name="connsiteX138" fmla="*/ 250808 w 1590658"/>
                <a:gd name="connsiteY138" fmla="*/ 908050 h 928047"/>
                <a:gd name="connsiteX139" fmla="*/ 269858 w 1590658"/>
                <a:gd name="connsiteY139" fmla="*/ 920750 h 928047"/>
                <a:gd name="connsiteX140" fmla="*/ 301608 w 1590658"/>
                <a:gd name="connsiteY140" fmla="*/ 927100 h 928047"/>
                <a:gd name="connsiteX141" fmla="*/ 269858 w 1590658"/>
                <a:gd name="connsiteY141" fmla="*/ 920750 h 928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590658" h="928047">
                  <a:moveTo>
                    <a:pt x="269858" y="920750"/>
                  </a:moveTo>
                  <a:cubicBezTo>
                    <a:pt x="270916" y="918633"/>
                    <a:pt x="295389" y="917193"/>
                    <a:pt x="307958" y="914400"/>
                  </a:cubicBezTo>
                  <a:cubicBezTo>
                    <a:pt x="314492" y="912948"/>
                    <a:pt x="320315" y="908050"/>
                    <a:pt x="327008" y="908050"/>
                  </a:cubicBezTo>
                  <a:cubicBezTo>
                    <a:pt x="346175" y="908050"/>
                    <a:pt x="365108" y="912283"/>
                    <a:pt x="384158" y="914400"/>
                  </a:cubicBezTo>
                  <a:cubicBezTo>
                    <a:pt x="386275" y="908050"/>
                    <a:pt x="387515" y="901337"/>
                    <a:pt x="390508" y="895350"/>
                  </a:cubicBezTo>
                  <a:cubicBezTo>
                    <a:pt x="393921" y="888524"/>
                    <a:pt x="400795" y="883540"/>
                    <a:pt x="403208" y="876300"/>
                  </a:cubicBezTo>
                  <a:cubicBezTo>
                    <a:pt x="419040" y="828804"/>
                    <a:pt x="392986" y="843724"/>
                    <a:pt x="428608" y="831850"/>
                  </a:cubicBezTo>
                  <a:cubicBezTo>
                    <a:pt x="437075" y="833967"/>
                    <a:pt x="445986" y="834762"/>
                    <a:pt x="454008" y="838200"/>
                  </a:cubicBezTo>
                  <a:cubicBezTo>
                    <a:pt x="461023" y="841206"/>
                    <a:pt x="466232" y="847487"/>
                    <a:pt x="473058" y="850900"/>
                  </a:cubicBezTo>
                  <a:cubicBezTo>
                    <a:pt x="479045" y="853893"/>
                    <a:pt x="485758" y="855133"/>
                    <a:pt x="492108" y="857250"/>
                  </a:cubicBezTo>
                  <a:cubicBezTo>
                    <a:pt x="498458" y="848783"/>
                    <a:pt x="503123" y="838738"/>
                    <a:pt x="511158" y="831850"/>
                  </a:cubicBezTo>
                  <a:cubicBezTo>
                    <a:pt x="527161" y="818133"/>
                    <a:pt x="548997" y="816662"/>
                    <a:pt x="568308" y="812800"/>
                  </a:cubicBezTo>
                  <a:cubicBezTo>
                    <a:pt x="568723" y="811141"/>
                    <a:pt x="577695" y="772491"/>
                    <a:pt x="581008" y="768350"/>
                  </a:cubicBezTo>
                  <a:cubicBezTo>
                    <a:pt x="585776" y="762391"/>
                    <a:pt x="593708" y="759883"/>
                    <a:pt x="600058" y="755650"/>
                  </a:cubicBezTo>
                  <a:cubicBezTo>
                    <a:pt x="623341" y="757767"/>
                    <a:pt x="646884" y="757937"/>
                    <a:pt x="669908" y="762000"/>
                  </a:cubicBezTo>
                  <a:cubicBezTo>
                    <a:pt x="683091" y="764326"/>
                    <a:pt x="708008" y="774700"/>
                    <a:pt x="708008" y="774700"/>
                  </a:cubicBezTo>
                  <a:cubicBezTo>
                    <a:pt x="726739" y="787187"/>
                    <a:pt x="730829" y="788115"/>
                    <a:pt x="746108" y="806450"/>
                  </a:cubicBezTo>
                  <a:cubicBezTo>
                    <a:pt x="750994" y="812313"/>
                    <a:pt x="752458" y="821267"/>
                    <a:pt x="758808" y="825500"/>
                  </a:cubicBezTo>
                  <a:cubicBezTo>
                    <a:pt x="766070" y="830341"/>
                    <a:pt x="775741" y="829733"/>
                    <a:pt x="784208" y="831850"/>
                  </a:cubicBezTo>
                  <a:lnTo>
                    <a:pt x="822308" y="819150"/>
                  </a:lnTo>
                  <a:lnTo>
                    <a:pt x="841358" y="812800"/>
                  </a:lnTo>
                  <a:cubicBezTo>
                    <a:pt x="847708" y="814917"/>
                    <a:pt x="855675" y="814417"/>
                    <a:pt x="860408" y="819150"/>
                  </a:cubicBezTo>
                  <a:cubicBezTo>
                    <a:pt x="934491" y="893233"/>
                    <a:pt x="850883" y="833967"/>
                    <a:pt x="904858" y="869950"/>
                  </a:cubicBezTo>
                  <a:cubicBezTo>
                    <a:pt x="915441" y="867833"/>
                    <a:pt x="926072" y="865941"/>
                    <a:pt x="936608" y="863600"/>
                  </a:cubicBezTo>
                  <a:cubicBezTo>
                    <a:pt x="945127" y="861707"/>
                    <a:pt x="953281" y="857250"/>
                    <a:pt x="962008" y="857250"/>
                  </a:cubicBezTo>
                  <a:cubicBezTo>
                    <a:pt x="968701" y="857250"/>
                    <a:pt x="974708" y="861483"/>
                    <a:pt x="981058" y="863600"/>
                  </a:cubicBezTo>
                  <a:cubicBezTo>
                    <a:pt x="996552" y="858435"/>
                    <a:pt x="1006848" y="856860"/>
                    <a:pt x="1019158" y="844550"/>
                  </a:cubicBezTo>
                  <a:cubicBezTo>
                    <a:pt x="1061491" y="802217"/>
                    <a:pt x="1000108" y="846667"/>
                    <a:pt x="1050908" y="812800"/>
                  </a:cubicBezTo>
                  <a:cubicBezTo>
                    <a:pt x="1057258" y="817033"/>
                    <a:pt x="1065190" y="819541"/>
                    <a:pt x="1069958" y="825500"/>
                  </a:cubicBezTo>
                  <a:cubicBezTo>
                    <a:pt x="1087783" y="847781"/>
                    <a:pt x="1060600" y="849786"/>
                    <a:pt x="1095358" y="838200"/>
                  </a:cubicBezTo>
                  <a:cubicBezTo>
                    <a:pt x="1100163" y="823786"/>
                    <a:pt x="1100652" y="809322"/>
                    <a:pt x="1120758" y="806450"/>
                  </a:cubicBezTo>
                  <a:cubicBezTo>
                    <a:pt x="1129398" y="805216"/>
                    <a:pt x="1137691" y="810683"/>
                    <a:pt x="1146158" y="812800"/>
                  </a:cubicBezTo>
                  <a:cubicBezTo>
                    <a:pt x="1152508" y="810683"/>
                    <a:pt x="1159221" y="809443"/>
                    <a:pt x="1165208" y="806450"/>
                  </a:cubicBezTo>
                  <a:cubicBezTo>
                    <a:pt x="1179479" y="799314"/>
                    <a:pt x="1193277" y="786737"/>
                    <a:pt x="1203308" y="774700"/>
                  </a:cubicBezTo>
                  <a:cubicBezTo>
                    <a:pt x="1208194" y="768837"/>
                    <a:pt x="1211775" y="762000"/>
                    <a:pt x="1216008" y="755650"/>
                  </a:cubicBezTo>
                  <a:cubicBezTo>
                    <a:pt x="1218693" y="731483"/>
                    <a:pt x="1213521" y="698295"/>
                    <a:pt x="1235058" y="679450"/>
                  </a:cubicBezTo>
                  <a:lnTo>
                    <a:pt x="1292208" y="641350"/>
                  </a:lnTo>
                  <a:lnTo>
                    <a:pt x="1311258" y="628650"/>
                  </a:lnTo>
                  <a:cubicBezTo>
                    <a:pt x="1315223" y="616755"/>
                    <a:pt x="1317510" y="596900"/>
                    <a:pt x="1336658" y="596900"/>
                  </a:cubicBezTo>
                  <a:cubicBezTo>
                    <a:pt x="1344290" y="596900"/>
                    <a:pt x="1349358" y="605367"/>
                    <a:pt x="1355708" y="609600"/>
                  </a:cubicBezTo>
                  <a:cubicBezTo>
                    <a:pt x="1357825" y="618067"/>
                    <a:pt x="1358620" y="626978"/>
                    <a:pt x="1362058" y="635000"/>
                  </a:cubicBezTo>
                  <a:cubicBezTo>
                    <a:pt x="1365064" y="642015"/>
                    <a:pt x="1369362" y="648654"/>
                    <a:pt x="1374758" y="654050"/>
                  </a:cubicBezTo>
                  <a:cubicBezTo>
                    <a:pt x="1398236" y="677528"/>
                    <a:pt x="1423205" y="668837"/>
                    <a:pt x="1457308" y="673100"/>
                  </a:cubicBezTo>
                  <a:cubicBezTo>
                    <a:pt x="1470084" y="674697"/>
                    <a:pt x="1482708" y="677333"/>
                    <a:pt x="1495408" y="679450"/>
                  </a:cubicBezTo>
                  <a:cubicBezTo>
                    <a:pt x="1499641" y="685800"/>
                    <a:pt x="1507265" y="690915"/>
                    <a:pt x="1508108" y="698500"/>
                  </a:cubicBezTo>
                  <a:cubicBezTo>
                    <a:pt x="1509971" y="715263"/>
                    <a:pt x="1500988" y="738910"/>
                    <a:pt x="1495408" y="755650"/>
                  </a:cubicBezTo>
                  <a:cubicBezTo>
                    <a:pt x="1497525" y="766233"/>
                    <a:pt x="1491838" y="783148"/>
                    <a:pt x="1501758" y="787400"/>
                  </a:cubicBezTo>
                  <a:cubicBezTo>
                    <a:pt x="1514063" y="792673"/>
                    <a:pt x="1539858" y="774700"/>
                    <a:pt x="1539858" y="774700"/>
                  </a:cubicBezTo>
                  <a:cubicBezTo>
                    <a:pt x="1546208" y="770467"/>
                    <a:pt x="1553512" y="767396"/>
                    <a:pt x="1558908" y="762000"/>
                  </a:cubicBezTo>
                  <a:cubicBezTo>
                    <a:pt x="1564304" y="756604"/>
                    <a:pt x="1565649" y="747718"/>
                    <a:pt x="1571608" y="742950"/>
                  </a:cubicBezTo>
                  <a:cubicBezTo>
                    <a:pt x="1576835" y="738769"/>
                    <a:pt x="1584308" y="738717"/>
                    <a:pt x="1590658" y="736600"/>
                  </a:cubicBezTo>
                  <a:cubicBezTo>
                    <a:pt x="1588541" y="721783"/>
                    <a:pt x="1587673" y="706734"/>
                    <a:pt x="1584308" y="692150"/>
                  </a:cubicBezTo>
                  <a:cubicBezTo>
                    <a:pt x="1565258" y="609600"/>
                    <a:pt x="1577958" y="685800"/>
                    <a:pt x="1565258" y="635000"/>
                  </a:cubicBezTo>
                  <a:cubicBezTo>
                    <a:pt x="1563141" y="626533"/>
                    <a:pt x="1562346" y="617622"/>
                    <a:pt x="1558908" y="609600"/>
                  </a:cubicBezTo>
                  <a:cubicBezTo>
                    <a:pt x="1555902" y="602585"/>
                    <a:pt x="1549621" y="597376"/>
                    <a:pt x="1546208" y="590550"/>
                  </a:cubicBezTo>
                  <a:cubicBezTo>
                    <a:pt x="1543215" y="584563"/>
                    <a:pt x="1541975" y="577850"/>
                    <a:pt x="1539858" y="571500"/>
                  </a:cubicBezTo>
                  <a:cubicBezTo>
                    <a:pt x="1537741" y="533400"/>
                    <a:pt x="1540648" y="494685"/>
                    <a:pt x="1533508" y="457200"/>
                  </a:cubicBezTo>
                  <a:cubicBezTo>
                    <a:pt x="1531828" y="448378"/>
                    <a:pt x="1523293" y="439756"/>
                    <a:pt x="1514458" y="438150"/>
                  </a:cubicBezTo>
                  <a:cubicBezTo>
                    <a:pt x="1497668" y="435097"/>
                    <a:pt x="1480591" y="442383"/>
                    <a:pt x="1463658" y="444500"/>
                  </a:cubicBezTo>
                  <a:cubicBezTo>
                    <a:pt x="1448841" y="442383"/>
                    <a:pt x="1433884" y="441085"/>
                    <a:pt x="1419208" y="438150"/>
                  </a:cubicBezTo>
                  <a:cubicBezTo>
                    <a:pt x="1412644" y="436837"/>
                    <a:pt x="1405385" y="435981"/>
                    <a:pt x="1400158" y="431800"/>
                  </a:cubicBezTo>
                  <a:cubicBezTo>
                    <a:pt x="1359126" y="398974"/>
                    <a:pt x="1416291" y="422361"/>
                    <a:pt x="1368408" y="406400"/>
                  </a:cubicBezTo>
                  <a:cubicBezTo>
                    <a:pt x="1362058" y="402167"/>
                    <a:pt x="1352192" y="400786"/>
                    <a:pt x="1349358" y="393700"/>
                  </a:cubicBezTo>
                  <a:cubicBezTo>
                    <a:pt x="1346872" y="387485"/>
                    <a:pt x="1349272" y="376489"/>
                    <a:pt x="1355708" y="374650"/>
                  </a:cubicBezTo>
                  <a:cubicBezTo>
                    <a:pt x="1382244" y="367068"/>
                    <a:pt x="1410741" y="370417"/>
                    <a:pt x="1438258" y="368300"/>
                  </a:cubicBezTo>
                  <a:cubicBezTo>
                    <a:pt x="1444608" y="364067"/>
                    <a:pt x="1453263" y="362072"/>
                    <a:pt x="1457308" y="355600"/>
                  </a:cubicBezTo>
                  <a:cubicBezTo>
                    <a:pt x="1464403" y="344248"/>
                    <a:pt x="1470008" y="317500"/>
                    <a:pt x="1470008" y="317500"/>
                  </a:cubicBezTo>
                  <a:cubicBezTo>
                    <a:pt x="1463658" y="311150"/>
                    <a:pt x="1456707" y="305349"/>
                    <a:pt x="1450958" y="298450"/>
                  </a:cubicBezTo>
                  <a:cubicBezTo>
                    <a:pt x="1446072" y="292587"/>
                    <a:pt x="1444217" y="284168"/>
                    <a:pt x="1438258" y="279400"/>
                  </a:cubicBezTo>
                  <a:cubicBezTo>
                    <a:pt x="1433031" y="275219"/>
                    <a:pt x="1425558" y="275167"/>
                    <a:pt x="1419208" y="273050"/>
                  </a:cubicBezTo>
                  <a:lnTo>
                    <a:pt x="1381108" y="247650"/>
                  </a:lnTo>
                  <a:cubicBezTo>
                    <a:pt x="1369969" y="240224"/>
                    <a:pt x="1343008" y="234950"/>
                    <a:pt x="1343008" y="234950"/>
                  </a:cubicBezTo>
                  <a:cubicBezTo>
                    <a:pt x="1338775" y="228600"/>
                    <a:pt x="1333721" y="222726"/>
                    <a:pt x="1330308" y="215900"/>
                  </a:cubicBezTo>
                  <a:cubicBezTo>
                    <a:pt x="1327315" y="209913"/>
                    <a:pt x="1328139" y="202077"/>
                    <a:pt x="1323958" y="196850"/>
                  </a:cubicBezTo>
                  <a:cubicBezTo>
                    <a:pt x="1319190" y="190891"/>
                    <a:pt x="1311258" y="188383"/>
                    <a:pt x="1304908" y="184150"/>
                  </a:cubicBezTo>
                  <a:cubicBezTo>
                    <a:pt x="1292208" y="188383"/>
                    <a:pt x="1279508" y="201083"/>
                    <a:pt x="1266808" y="196850"/>
                  </a:cubicBezTo>
                  <a:lnTo>
                    <a:pt x="1228708" y="184150"/>
                  </a:lnTo>
                  <a:cubicBezTo>
                    <a:pt x="1218125" y="186267"/>
                    <a:pt x="1207429" y="187882"/>
                    <a:pt x="1196958" y="190500"/>
                  </a:cubicBezTo>
                  <a:cubicBezTo>
                    <a:pt x="1190464" y="192123"/>
                    <a:pt x="1184258" y="198967"/>
                    <a:pt x="1177908" y="196850"/>
                  </a:cubicBezTo>
                  <a:cubicBezTo>
                    <a:pt x="1163428" y="192023"/>
                    <a:pt x="1152508" y="179917"/>
                    <a:pt x="1139808" y="171450"/>
                  </a:cubicBezTo>
                  <a:cubicBezTo>
                    <a:pt x="1132336" y="166469"/>
                    <a:pt x="1127847" y="157913"/>
                    <a:pt x="1120758" y="152400"/>
                  </a:cubicBezTo>
                  <a:cubicBezTo>
                    <a:pt x="1108710" y="143029"/>
                    <a:pt x="1082658" y="127000"/>
                    <a:pt x="1082658" y="127000"/>
                  </a:cubicBezTo>
                  <a:cubicBezTo>
                    <a:pt x="1078425" y="120650"/>
                    <a:pt x="1076784" y="111363"/>
                    <a:pt x="1069958" y="107950"/>
                  </a:cubicBezTo>
                  <a:cubicBezTo>
                    <a:pt x="1058442" y="102192"/>
                    <a:pt x="1044072" y="105671"/>
                    <a:pt x="1031858" y="101600"/>
                  </a:cubicBezTo>
                  <a:cubicBezTo>
                    <a:pt x="1024618" y="99187"/>
                    <a:pt x="1019158" y="93133"/>
                    <a:pt x="1012808" y="88900"/>
                  </a:cubicBezTo>
                  <a:cubicBezTo>
                    <a:pt x="1014925" y="78317"/>
                    <a:pt x="1016540" y="67621"/>
                    <a:pt x="1019158" y="57150"/>
                  </a:cubicBezTo>
                  <a:cubicBezTo>
                    <a:pt x="1020781" y="50656"/>
                    <a:pt x="1029399" y="43547"/>
                    <a:pt x="1025508" y="38100"/>
                  </a:cubicBezTo>
                  <a:cubicBezTo>
                    <a:pt x="1016636" y="25680"/>
                    <a:pt x="1000108" y="21167"/>
                    <a:pt x="987408" y="12700"/>
                  </a:cubicBezTo>
                  <a:cubicBezTo>
                    <a:pt x="976269" y="5274"/>
                    <a:pt x="949308" y="0"/>
                    <a:pt x="949308" y="0"/>
                  </a:cubicBezTo>
                  <a:cubicBezTo>
                    <a:pt x="933814" y="5165"/>
                    <a:pt x="923518" y="6740"/>
                    <a:pt x="911208" y="19050"/>
                  </a:cubicBezTo>
                  <a:cubicBezTo>
                    <a:pt x="905812" y="24446"/>
                    <a:pt x="904858" y="33867"/>
                    <a:pt x="898508" y="38100"/>
                  </a:cubicBezTo>
                  <a:cubicBezTo>
                    <a:pt x="891246" y="42941"/>
                    <a:pt x="881575" y="42333"/>
                    <a:pt x="873108" y="44450"/>
                  </a:cubicBezTo>
                  <a:cubicBezTo>
                    <a:pt x="864641" y="42333"/>
                    <a:pt x="856435" y="38100"/>
                    <a:pt x="847708" y="38100"/>
                  </a:cubicBezTo>
                  <a:cubicBezTo>
                    <a:pt x="834833" y="38100"/>
                    <a:pt x="822233" y="41925"/>
                    <a:pt x="809608" y="44450"/>
                  </a:cubicBezTo>
                  <a:cubicBezTo>
                    <a:pt x="789674" y="48437"/>
                    <a:pt x="783314" y="51098"/>
                    <a:pt x="765158" y="57150"/>
                  </a:cubicBezTo>
                  <a:cubicBezTo>
                    <a:pt x="758808" y="61383"/>
                    <a:pt x="750876" y="63891"/>
                    <a:pt x="746108" y="69850"/>
                  </a:cubicBezTo>
                  <a:cubicBezTo>
                    <a:pt x="739526" y="78077"/>
                    <a:pt x="733473" y="126610"/>
                    <a:pt x="733408" y="127000"/>
                  </a:cubicBezTo>
                  <a:cubicBezTo>
                    <a:pt x="727058" y="124883"/>
                    <a:pt x="720345" y="123643"/>
                    <a:pt x="714358" y="120650"/>
                  </a:cubicBezTo>
                  <a:cubicBezTo>
                    <a:pt x="707532" y="117237"/>
                    <a:pt x="702836" y="109205"/>
                    <a:pt x="695308" y="107950"/>
                  </a:cubicBezTo>
                  <a:cubicBezTo>
                    <a:pt x="688706" y="106850"/>
                    <a:pt x="682608" y="112183"/>
                    <a:pt x="676258" y="114300"/>
                  </a:cubicBezTo>
                  <a:cubicBezTo>
                    <a:pt x="663558" y="122767"/>
                    <a:pt x="646625" y="127000"/>
                    <a:pt x="638158" y="139700"/>
                  </a:cubicBezTo>
                  <a:cubicBezTo>
                    <a:pt x="621225" y="165100"/>
                    <a:pt x="631808" y="154517"/>
                    <a:pt x="606408" y="171450"/>
                  </a:cubicBezTo>
                  <a:cubicBezTo>
                    <a:pt x="602175" y="177800"/>
                    <a:pt x="600895" y="187933"/>
                    <a:pt x="593708" y="190500"/>
                  </a:cubicBezTo>
                  <a:cubicBezTo>
                    <a:pt x="562865" y="201515"/>
                    <a:pt x="473389" y="206877"/>
                    <a:pt x="441308" y="209550"/>
                  </a:cubicBezTo>
                  <a:cubicBezTo>
                    <a:pt x="441088" y="209605"/>
                    <a:pt x="399895" y="219213"/>
                    <a:pt x="396858" y="222250"/>
                  </a:cubicBezTo>
                  <a:cubicBezTo>
                    <a:pt x="392125" y="226983"/>
                    <a:pt x="392625" y="234950"/>
                    <a:pt x="390508" y="241300"/>
                  </a:cubicBezTo>
                  <a:cubicBezTo>
                    <a:pt x="394741" y="247650"/>
                    <a:pt x="401953" y="252822"/>
                    <a:pt x="403208" y="260350"/>
                  </a:cubicBezTo>
                  <a:cubicBezTo>
                    <a:pt x="406513" y="280182"/>
                    <a:pt x="388667" y="283051"/>
                    <a:pt x="377808" y="292100"/>
                  </a:cubicBezTo>
                  <a:cubicBezTo>
                    <a:pt x="359473" y="307379"/>
                    <a:pt x="358545" y="311469"/>
                    <a:pt x="346058" y="330200"/>
                  </a:cubicBezTo>
                  <a:cubicBezTo>
                    <a:pt x="341943" y="346660"/>
                    <a:pt x="343396" y="365052"/>
                    <a:pt x="320658" y="368300"/>
                  </a:cubicBezTo>
                  <a:cubicBezTo>
                    <a:pt x="312018" y="369534"/>
                    <a:pt x="303725" y="364067"/>
                    <a:pt x="295258" y="361950"/>
                  </a:cubicBezTo>
                  <a:cubicBezTo>
                    <a:pt x="288908" y="357717"/>
                    <a:pt x="283034" y="352663"/>
                    <a:pt x="276208" y="349250"/>
                  </a:cubicBezTo>
                  <a:cubicBezTo>
                    <a:pt x="223628" y="322960"/>
                    <a:pt x="292703" y="366596"/>
                    <a:pt x="238108" y="330200"/>
                  </a:cubicBezTo>
                  <a:cubicBezTo>
                    <a:pt x="235991" y="323850"/>
                    <a:pt x="237205" y="315041"/>
                    <a:pt x="231758" y="311150"/>
                  </a:cubicBezTo>
                  <a:cubicBezTo>
                    <a:pt x="220865" y="303369"/>
                    <a:pt x="193658" y="298450"/>
                    <a:pt x="193658" y="298450"/>
                  </a:cubicBezTo>
                  <a:cubicBezTo>
                    <a:pt x="185191" y="300567"/>
                    <a:pt x="176617" y="302292"/>
                    <a:pt x="168258" y="304800"/>
                  </a:cubicBezTo>
                  <a:cubicBezTo>
                    <a:pt x="155436" y="308647"/>
                    <a:pt x="130158" y="317500"/>
                    <a:pt x="130158" y="317500"/>
                  </a:cubicBezTo>
                  <a:cubicBezTo>
                    <a:pt x="123808" y="321733"/>
                    <a:pt x="114894" y="323574"/>
                    <a:pt x="111108" y="330200"/>
                  </a:cubicBezTo>
                  <a:cubicBezTo>
                    <a:pt x="95890" y="356832"/>
                    <a:pt x="115957" y="361881"/>
                    <a:pt x="92058" y="381000"/>
                  </a:cubicBezTo>
                  <a:cubicBezTo>
                    <a:pt x="86831" y="385181"/>
                    <a:pt x="79358" y="385233"/>
                    <a:pt x="73008" y="387350"/>
                  </a:cubicBezTo>
                  <a:cubicBezTo>
                    <a:pt x="43092" y="432224"/>
                    <a:pt x="42884" y="413716"/>
                    <a:pt x="53958" y="463550"/>
                  </a:cubicBezTo>
                  <a:cubicBezTo>
                    <a:pt x="55410" y="470084"/>
                    <a:pt x="57315" y="476613"/>
                    <a:pt x="60308" y="482600"/>
                  </a:cubicBezTo>
                  <a:cubicBezTo>
                    <a:pt x="63721" y="489426"/>
                    <a:pt x="67265" y="496624"/>
                    <a:pt x="73008" y="501650"/>
                  </a:cubicBezTo>
                  <a:cubicBezTo>
                    <a:pt x="84495" y="511701"/>
                    <a:pt x="111108" y="527050"/>
                    <a:pt x="111108" y="527050"/>
                  </a:cubicBezTo>
                  <a:cubicBezTo>
                    <a:pt x="114199" y="531686"/>
                    <a:pt x="133079" y="556387"/>
                    <a:pt x="130158" y="565150"/>
                  </a:cubicBezTo>
                  <a:cubicBezTo>
                    <a:pt x="125331" y="579630"/>
                    <a:pt x="109585" y="588770"/>
                    <a:pt x="104758" y="603250"/>
                  </a:cubicBezTo>
                  <a:cubicBezTo>
                    <a:pt x="99593" y="618744"/>
                    <a:pt x="98018" y="629040"/>
                    <a:pt x="85708" y="641350"/>
                  </a:cubicBezTo>
                  <a:cubicBezTo>
                    <a:pt x="35758" y="691300"/>
                    <a:pt x="99622" y="610683"/>
                    <a:pt x="47608" y="673100"/>
                  </a:cubicBezTo>
                  <a:cubicBezTo>
                    <a:pt x="21150" y="704850"/>
                    <a:pt x="50783" y="681567"/>
                    <a:pt x="15858" y="704850"/>
                  </a:cubicBezTo>
                  <a:cubicBezTo>
                    <a:pt x="11625" y="711200"/>
                    <a:pt x="4237" y="716345"/>
                    <a:pt x="3158" y="723900"/>
                  </a:cubicBezTo>
                  <a:cubicBezTo>
                    <a:pt x="0" y="746009"/>
                    <a:pt x="12180" y="753811"/>
                    <a:pt x="28558" y="762000"/>
                  </a:cubicBezTo>
                  <a:cubicBezTo>
                    <a:pt x="34545" y="764993"/>
                    <a:pt x="41258" y="766233"/>
                    <a:pt x="47608" y="768350"/>
                  </a:cubicBezTo>
                  <a:cubicBezTo>
                    <a:pt x="54738" y="779045"/>
                    <a:pt x="63762" y="797872"/>
                    <a:pt x="79358" y="800100"/>
                  </a:cubicBezTo>
                  <a:cubicBezTo>
                    <a:pt x="84939" y="800897"/>
                    <a:pt x="116659" y="789783"/>
                    <a:pt x="123808" y="787400"/>
                  </a:cubicBezTo>
                  <a:cubicBezTo>
                    <a:pt x="132275" y="789517"/>
                    <a:pt x="141946" y="788909"/>
                    <a:pt x="149208" y="793750"/>
                  </a:cubicBezTo>
                  <a:cubicBezTo>
                    <a:pt x="155558" y="797983"/>
                    <a:pt x="158808" y="805826"/>
                    <a:pt x="161908" y="812800"/>
                  </a:cubicBezTo>
                  <a:cubicBezTo>
                    <a:pt x="167345" y="825033"/>
                    <a:pt x="163469" y="843474"/>
                    <a:pt x="174608" y="850900"/>
                  </a:cubicBezTo>
                  <a:cubicBezTo>
                    <a:pt x="242681" y="896282"/>
                    <a:pt x="139369" y="825608"/>
                    <a:pt x="212708" y="882650"/>
                  </a:cubicBezTo>
                  <a:cubicBezTo>
                    <a:pt x="224756" y="892021"/>
                    <a:pt x="238108" y="899583"/>
                    <a:pt x="250808" y="908050"/>
                  </a:cubicBezTo>
                  <a:lnTo>
                    <a:pt x="269858" y="920750"/>
                  </a:lnTo>
                  <a:cubicBezTo>
                    <a:pt x="278838" y="926737"/>
                    <a:pt x="291369" y="923687"/>
                    <a:pt x="301608" y="927100"/>
                  </a:cubicBezTo>
                  <a:cubicBezTo>
                    <a:pt x="304448" y="928047"/>
                    <a:pt x="268800" y="922867"/>
                    <a:pt x="269858" y="9207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dirty="0">
                <a:solidFill>
                  <a:srgbClr val="000000"/>
                </a:solidFill>
                <a:latin typeface="Arial" charset="0"/>
              </a:endParaRPr>
            </a:p>
          </p:txBody>
        </p:sp>
        <p:sp>
          <p:nvSpPr>
            <p:cNvPr id="30" name="Freeform 29"/>
            <p:cNvSpPr/>
            <p:nvPr>
              <p:custDataLst>
                <p:tags r:id="rId18"/>
              </p:custDataLst>
            </p:nvPr>
          </p:nvSpPr>
          <p:spPr bwMode="gray">
            <a:xfrm>
              <a:off x="5383399" y="1270000"/>
              <a:ext cx="571500" cy="329370"/>
            </a:xfrm>
            <a:custGeom>
              <a:avLst/>
              <a:gdLst>
                <a:gd name="connsiteX0" fmla="*/ 387350 w 571500"/>
                <a:gd name="connsiteY0" fmla="*/ 317500 h 329370"/>
                <a:gd name="connsiteX1" fmla="*/ 438150 w 571500"/>
                <a:gd name="connsiteY1" fmla="*/ 311150 h 329370"/>
                <a:gd name="connsiteX2" fmla="*/ 444500 w 571500"/>
                <a:gd name="connsiteY2" fmla="*/ 292100 h 329370"/>
                <a:gd name="connsiteX3" fmla="*/ 457200 w 571500"/>
                <a:gd name="connsiteY3" fmla="*/ 273050 h 329370"/>
                <a:gd name="connsiteX4" fmla="*/ 463550 w 571500"/>
                <a:gd name="connsiteY4" fmla="*/ 247650 h 329370"/>
                <a:gd name="connsiteX5" fmla="*/ 482600 w 571500"/>
                <a:gd name="connsiteY5" fmla="*/ 241300 h 329370"/>
                <a:gd name="connsiteX6" fmla="*/ 508000 w 571500"/>
                <a:gd name="connsiteY6" fmla="*/ 234950 h 329370"/>
                <a:gd name="connsiteX7" fmla="*/ 539750 w 571500"/>
                <a:gd name="connsiteY7" fmla="*/ 241300 h 329370"/>
                <a:gd name="connsiteX8" fmla="*/ 552450 w 571500"/>
                <a:gd name="connsiteY8" fmla="*/ 260350 h 329370"/>
                <a:gd name="connsiteX9" fmla="*/ 571500 w 571500"/>
                <a:gd name="connsiteY9" fmla="*/ 266700 h 329370"/>
                <a:gd name="connsiteX10" fmla="*/ 546100 w 571500"/>
                <a:gd name="connsiteY10" fmla="*/ 209550 h 329370"/>
                <a:gd name="connsiteX11" fmla="*/ 527050 w 571500"/>
                <a:gd name="connsiteY11" fmla="*/ 203200 h 329370"/>
                <a:gd name="connsiteX12" fmla="*/ 508000 w 571500"/>
                <a:gd name="connsiteY12" fmla="*/ 184150 h 329370"/>
                <a:gd name="connsiteX13" fmla="*/ 508000 w 571500"/>
                <a:gd name="connsiteY13" fmla="*/ 139700 h 329370"/>
                <a:gd name="connsiteX14" fmla="*/ 527050 w 571500"/>
                <a:gd name="connsiteY14" fmla="*/ 127000 h 329370"/>
                <a:gd name="connsiteX15" fmla="*/ 546100 w 571500"/>
                <a:gd name="connsiteY15" fmla="*/ 88900 h 329370"/>
                <a:gd name="connsiteX16" fmla="*/ 533400 w 571500"/>
                <a:gd name="connsiteY16" fmla="*/ 69850 h 329370"/>
                <a:gd name="connsiteX17" fmla="*/ 514350 w 571500"/>
                <a:gd name="connsiteY17" fmla="*/ 63500 h 329370"/>
                <a:gd name="connsiteX18" fmla="*/ 488950 w 571500"/>
                <a:gd name="connsiteY18" fmla="*/ 69850 h 329370"/>
                <a:gd name="connsiteX19" fmla="*/ 469900 w 571500"/>
                <a:gd name="connsiteY19" fmla="*/ 76200 h 329370"/>
                <a:gd name="connsiteX20" fmla="*/ 438150 w 571500"/>
                <a:gd name="connsiteY20" fmla="*/ 69850 h 329370"/>
                <a:gd name="connsiteX21" fmla="*/ 438150 w 571500"/>
                <a:gd name="connsiteY21" fmla="*/ 6350 h 329370"/>
                <a:gd name="connsiteX22" fmla="*/ 419100 w 571500"/>
                <a:gd name="connsiteY22" fmla="*/ 0 h 329370"/>
                <a:gd name="connsiteX23" fmla="*/ 374650 w 571500"/>
                <a:gd name="connsiteY23" fmla="*/ 6350 h 329370"/>
                <a:gd name="connsiteX24" fmla="*/ 349250 w 571500"/>
                <a:gd name="connsiteY24" fmla="*/ 44450 h 329370"/>
                <a:gd name="connsiteX25" fmla="*/ 342900 w 571500"/>
                <a:gd name="connsiteY25" fmla="*/ 95250 h 329370"/>
                <a:gd name="connsiteX26" fmla="*/ 323850 w 571500"/>
                <a:gd name="connsiteY26" fmla="*/ 76200 h 329370"/>
                <a:gd name="connsiteX27" fmla="*/ 292100 w 571500"/>
                <a:gd name="connsiteY27" fmla="*/ 101600 h 329370"/>
                <a:gd name="connsiteX28" fmla="*/ 298450 w 571500"/>
                <a:gd name="connsiteY28" fmla="*/ 127000 h 329370"/>
                <a:gd name="connsiteX29" fmla="*/ 273050 w 571500"/>
                <a:gd name="connsiteY29" fmla="*/ 171450 h 329370"/>
                <a:gd name="connsiteX30" fmla="*/ 254000 w 571500"/>
                <a:gd name="connsiteY30" fmla="*/ 184150 h 329370"/>
                <a:gd name="connsiteX31" fmla="*/ 228600 w 571500"/>
                <a:gd name="connsiteY31" fmla="*/ 190500 h 329370"/>
                <a:gd name="connsiteX32" fmla="*/ 152400 w 571500"/>
                <a:gd name="connsiteY32" fmla="*/ 184150 h 329370"/>
                <a:gd name="connsiteX33" fmla="*/ 114300 w 571500"/>
                <a:gd name="connsiteY33" fmla="*/ 171450 h 329370"/>
                <a:gd name="connsiteX34" fmla="*/ 44450 w 571500"/>
                <a:gd name="connsiteY34" fmla="*/ 190500 h 329370"/>
                <a:gd name="connsiteX35" fmla="*/ 25400 w 571500"/>
                <a:gd name="connsiteY35" fmla="*/ 215900 h 329370"/>
                <a:gd name="connsiteX36" fmla="*/ 0 w 571500"/>
                <a:gd name="connsiteY36" fmla="*/ 279400 h 329370"/>
                <a:gd name="connsiteX37" fmla="*/ 25400 w 571500"/>
                <a:gd name="connsiteY37" fmla="*/ 292100 h 329370"/>
                <a:gd name="connsiteX38" fmla="*/ 50800 w 571500"/>
                <a:gd name="connsiteY38" fmla="*/ 234950 h 329370"/>
                <a:gd name="connsiteX39" fmla="*/ 69850 w 571500"/>
                <a:gd name="connsiteY39" fmla="*/ 228600 h 329370"/>
                <a:gd name="connsiteX40" fmla="*/ 88900 w 571500"/>
                <a:gd name="connsiteY40" fmla="*/ 215900 h 329370"/>
                <a:gd name="connsiteX41" fmla="*/ 228600 w 571500"/>
                <a:gd name="connsiteY41" fmla="*/ 215900 h 329370"/>
                <a:gd name="connsiteX42" fmla="*/ 266700 w 571500"/>
                <a:gd name="connsiteY42" fmla="*/ 209550 h 329370"/>
                <a:gd name="connsiteX43" fmla="*/ 279400 w 571500"/>
                <a:gd name="connsiteY43" fmla="*/ 190500 h 329370"/>
                <a:gd name="connsiteX44" fmla="*/ 298450 w 571500"/>
                <a:gd name="connsiteY44" fmla="*/ 171450 h 329370"/>
                <a:gd name="connsiteX45" fmla="*/ 311150 w 571500"/>
                <a:gd name="connsiteY45" fmla="*/ 127000 h 329370"/>
                <a:gd name="connsiteX46" fmla="*/ 330200 w 571500"/>
                <a:gd name="connsiteY46" fmla="*/ 120650 h 329370"/>
                <a:gd name="connsiteX47" fmla="*/ 336550 w 571500"/>
                <a:gd name="connsiteY47" fmla="*/ 139700 h 329370"/>
                <a:gd name="connsiteX48" fmla="*/ 342900 w 571500"/>
                <a:gd name="connsiteY48" fmla="*/ 184150 h 329370"/>
                <a:gd name="connsiteX49" fmla="*/ 361950 w 571500"/>
                <a:gd name="connsiteY49" fmla="*/ 196850 h 329370"/>
                <a:gd name="connsiteX50" fmla="*/ 355600 w 571500"/>
                <a:gd name="connsiteY50" fmla="*/ 222250 h 329370"/>
                <a:gd name="connsiteX51" fmla="*/ 336550 w 571500"/>
                <a:gd name="connsiteY51" fmla="*/ 234950 h 329370"/>
                <a:gd name="connsiteX52" fmla="*/ 323850 w 571500"/>
                <a:gd name="connsiteY52" fmla="*/ 254000 h 329370"/>
                <a:gd name="connsiteX53" fmla="*/ 330200 w 571500"/>
                <a:gd name="connsiteY53" fmla="*/ 298450 h 329370"/>
                <a:gd name="connsiteX54" fmla="*/ 349250 w 571500"/>
                <a:gd name="connsiteY54" fmla="*/ 304800 h 329370"/>
                <a:gd name="connsiteX55" fmla="*/ 374650 w 571500"/>
                <a:gd name="connsiteY55" fmla="*/ 311150 h 329370"/>
                <a:gd name="connsiteX56" fmla="*/ 419100 w 571500"/>
                <a:gd name="connsiteY56" fmla="*/ 323850 h 329370"/>
                <a:gd name="connsiteX57" fmla="*/ 444500 w 571500"/>
                <a:gd name="connsiteY57" fmla="*/ 311150 h 329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71500" h="329370">
                  <a:moveTo>
                    <a:pt x="387350" y="317500"/>
                  </a:moveTo>
                  <a:cubicBezTo>
                    <a:pt x="404283" y="315383"/>
                    <a:pt x="422556" y="318081"/>
                    <a:pt x="438150" y="311150"/>
                  </a:cubicBezTo>
                  <a:cubicBezTo>
                    <a:pt x="444267" y="308432"/>
                    <a:pt x="441507" y="298087"/>
                    <a:pt x="444500" y="292100"/>
                  </a:cubicBezTo>
                  <a:cubicBezTo>
                    <a:pt x="447913" y="285274"/>
                    <a:pt x="452967" y="279400"/>
                    <a:pt x="457200" y="273050"/>
                  </a:cubicBezTo>
                  <a:cubicBezTo>
                    <a:pt x="459317" y="264583"/>
                    <a:pt x="458098" y="254465"/>
                    <a:pt x="463550" y="247650"/>
                  </a:cubicBezTo>
                  <a:cubicBezTo>
                    <a:pt x="467731" y="242423"/>
                    <a:pt x="476164" y="243139"/>
                    <a:pt x="482600" y="241300"/>
                  </a:cubicBezTo>
                  <a:cubicBezTo>
                    <a:pt x="490991" y="238902"/>
                    <a:pt x="499533" y="237067"/>
                    <a:pt x="508000" y="234950"/>
                  </a:cubicBezTo>
                  <a:cubicBezTo>
                    <a:pt x="518583" y="237067"/>
                    <a:pt x="530379" y="235945"/>
                    <a:pt x="539750" y="241300"/>
                  </a:cubicBezTo>
                  <a:cubicBezTo>
                    <a:pt x="546376" y="245086"/>
                    <a:pt x="546491" y="255582"/>
                    <a:pt x="552450" y="260350"/>
                  </a:cubicBezTo>
                  <a:cubicBezTo>
                    <a:pt x="557677" y="264531"/>
                    <a:pt x="565150" y="264583"/>
                    <a:pt x="571500" y="266700"/>
                  </a:cubicBezTo>
                  <a:cubicBezTo>
                    <a:pt x="551374" y="236511"/>
                    <a:pt x="561213" y="254890"/>
                    <a:pt x="546100" y="209550"/>
                  </a:cubicBezTo>
                  <a:cubicBezTo>
                    <a:pt x="543983" y="203200"/>
                    <a:pt x="533400" y="205317"/>
                    <a:pt x="527050" y="203200"/>
                  </a:cubicBezTo>
                  <a:cubicBezTo>
                    <a:pt x="520700" y="196850"/>
                    <a:pt x="512981" y="191622"/>
                    <a:pt x="508000" y="184150"/>
                  </a:cubicBezTo>
                  <a:cubicBezTo>
                    <a:pt x="499431" y="171297"/>
                    <a:pt x="499321" y="152719"/>
                    <a:pt x="508000" y="139700"/>
                  </a:cubicBezTo>
                  <a:cubicBezTo>
                    <a:pt x="512233" y="133350"/>
                    <a:pt x="520700" y="131233"/>
                    <a:pt x="527050" y="127000"/>
                  </a:cubicBezTo>
                  <a:cubicBezTo>
                    <a:pt x="531473" y="120366"/>
                    <a:pt x="547853" y="99416"/>
                    <a:pt x="546100" y="88900"/>
                  </a:cubicBezTo>
                  <a:cubicBezTo>
                    <a:pt x="544845" y="81372"/>
                    <a:pt x="539359" y="74618"/>
                    <a:pt x="533400" y="69850"/>
                  </a:cubicBezTo>
                  <a:cubicBezTo>
                    <a:pt x="528173" y="65669"/>
                    <a:pt x="520700" y="65617"/>
                    <a:pt x="514350" y="63500"/>
                  </a:cubicBezTo>
                  <a:cubicBezTo>
                    <a:pt x="505883" y="65617"/>
                    <a:pt x="497341" y="67452"/>
                    <a:pt x="488950" y="69850"/>
                  </a:cubicBezTo>
                  <a:cubicBezTo>
                    <a:pt x="482514" y="71689"/>
                    <a:pt x="476593" y="76200"/>
                    <a:pt x="469900" y="76200"/>
                  </a:cubicBezTo>
                  <a:cubicBezTo>
                    <a:pt x="459107" y="76200"/>
                    <a:pt x="448733" y="71967"/>
                    <a:pt x="438150" y="69850"/>
                  </a:cubicBezTo>
                  <a:cubicBezTo>
                    <a:pt x="439251" y="62143"/>
                    <a:pt x="452004" y="20204"/>
                    <a:pt x="438150" y="6350"/>
                  </a:cubicBezTo>
                  <a:cubicBezTo>
                    <a:pt x="433417" y="1617"/>
                    <a:pt x="425450" y="2117"/>
                    <a:pt x="419100" y="0"/>
                  </a:cubicBezTo>
                  <a:cubicBezTo>
                    <a:pt x="404283" y="2117"/>
                    <a:pt x="388986" y="2049"/>
                    <a:pt x="374650" y="6350"/>
                  </a:cubicBezTo>
                  <a:cubicBezTo>
                    <a:pt x="352547" y="12981"/>
                    <a:pt x="352638" y="24122"/>
                    <a:pt x="349250" y="44450"/>
                  </a:cubicBezTo>
                  <a:cubicBezTo>
                    <a:pt x="346445" y="61283"/>
                    <a:pt x="345017" y="78317"/>
                    <a:pt x="342900" y="95250"/>
                  </a:cubicBezTo>
                  <a:cubicBezTo>
                    <a:pt x="336550" y="88900"/>
                    <a:pt x="332369" y="79040"/>
                    <a:pt x="323850" y="76200"/>
                  </a:cubicBezTo>
                  <a:cubicBezTo>
                    <a:pt x="307120" y="70623"/>
                    <a:pt x="297613" y="93331"/>
                    <a:pt x="292100" y="101600"/>
                  </a:cubicBezTo>
                  <a:cubicBezTo>
                    <a:pt x="294217" y="110067"/>
                    <a:pt x="298450" y="118273"/>
                    <a:pt x="298450" y="127000"/>
                  </a:cubicBezTo>
                  <a:cubicBezTo>
                    <a:pt x="298450" y="149920"/>
                    <a:pt x="289496" y="157745"/>
                    <a:pt x="273050" y="171450"/>
                  </a:cubicBezTo>
                  <a:cubicBezTo>
                    <a:pt x="267187" y="176336"/>
                    <a:pt x="261015" y="181144"/>
                    <a:pt x="254000" y="184150"/>
                  </a:cubicBezTo>
                  <a:cubicBezTo>
                    <a:pt x="245978" y="187588"/>
                    <a:pt x="237067" y="188383"/>
                    <a:pt x="228600" y="190500"/>
                  </a:cubicBezTo>
                  <a:cubicBezTo>
                    <a:pt x="203200" y="188383"/>
                    <a:pt x="177541" y="188340"/>
                    <a:pt x="152400" y="184150"/>
                  </a:cubicBezTo>
                  <a:cubicBezTo>
                    <a:pt x="139195" y="181949"/>
                    <a:pt x="114300" y="171450"/>
                    <a:pt x="114300" y="171450"/>
                  </a:cubicBezTo>
                  <a:cubicBezTo>
                    <a:pt x="84250" y="175206"/>
                    <a:pt x="65033" y="169917"/>
                    <a:pt x="44450" y="190500"/>
                  </a:cubicBezTo>
                  <a:cubicBezTo>
                    <a:pt x="36966" y="197984"/>
                    <a:pt x="31750" y="207433"/>
                    <a:pt x="25400" y="215900"/>
                  </a:cubicBezTo>
                  <a:cubicBezTo>
                    <a:pt x="9707" y="262980"/>
                    <a:pt x="18687" y="242026"/>
                    <a:pt x="0" y="279400"/>
                  </a:cubicBezTo>
                  <a:cubicBezTo>
                    <a:pt x="2309" y="286327"/>
                    <a:pt x="6158" y="319039"/>
                    <a:pt x="25400" y="292100"/>
                  </a:cubicBezTo>
                  <a:cubicBezTo>
                    <a:pt x="39629" y="272179"/>
                    <a:pt x="31178" y="250647"/>
                    <a:pt x="50800" y="234950"/>
                  </a:cubicBezTo>
                  <a:cubicBezTo>
                    <a:pt x="56027" y="230769"/>
                    <a:pt x="63500" y="230717"/>
                    <a:pt x="69850" y="228600"/>
                  </a:cubicBezTo>
                  <a:cubicBezTo>
                    <a:pt x="76200" y="224367"/>
                    <a:pt x="81885" y="218906"/>
                    <a:pt x="88900" y="215900"/>
                  </a:cubicBezTo>
                  <a:cubicBezTo>
                    <a:pt x="128296" y="199016"/>
                    <a:pt x="206254" y="214659"/>
                    <a:pt x="228600" y="215900"/>
                  </a:cubicBezTo>
                  <a:cubicBezTo>
                    <a:pt x="241300" y="213783"/>
                    <a:pt x="255184" y="215308"/>
                    <a:pt x="266700" y="209550"/>
                  </a:cubicBezTo>
                  <a:cubicBezTo>
                    <a:pt x="273526" y="206137"/>
                    <a:pt x="274514" y="196363"/>
                    <a:pt x="279400" y="190500"/>
                  </a:cubicBezTo>
                  <a:cubicBezTo>
                    <a:pt x="285149" y="183601"/>
                    <a:pt x="292100" y="177800"/>
                    <a:pt x="298450" y="171450"/>
                  </a:cubicBezTo>
                  <a:cubicBezTo>
                    <a:pt x="298505" y="171230"/>
                    <a:pt x="308113" y="130037"/>
                    <a:pt x="311150" y="127000"/>
                  </a:cubicBezTo>
                  <a:cubicBezTo>
                    <a:pt x="315883" y="122267"/>
                    <a:pt x="323850" y="122767"/>
                    <a:pt x="330200" y="120650"/>
                  </a:cubicBezTo>
                  <a:cubicBezTo>
                    <a:pt x="332317" y="127000"/>
                    <a:pt x="335237" y="133136"/>
                    <a:pt x="336550" y="139700"/>
                  </a:cubicBezTo>
                  <a:cubicBezTo>
                    <a:pt x="339485" y="154376"/>
                    <a:pt x="336821" y="170473"/>
                    <a:pt x="342900" y="184150"/>
                  </a:cubicBezTo>
                  <a:cubicBezTo>
                    <a:pt x="346000" y="191124"/>
                    <a:pt x="355600" y="192617"/>
                    <a:pt x="361950" y="196850"/>
                  </a:cubicBezTo>
                  <a:cubicBezTo>
                    <a:pt x="359833" y="205317"/>
                    <a:pt x="360441" y="214988"/>
                    <a:pt x="355600" y="222250"/>
                  </a:cubicBezTo>
                  <a:cubicBezTo>
                    <a:pt x="351367" y="228600"/>
                    <a:pt x="341946" y="229554"/>
                    <a:pt x="336550" y="234950"/>
                  </a:cubicBezTo>
                  <a:cubicBezTo>
                    <a:pt x="331154" y="240346"/>
                    <a:pt x="328083" y="247650"/>
                    <a:pt x="323850" y="254000"/>
                  </a:cubicBezTo>
                  <a:cubicBezTo>
                    <a:pt x="325967" y="268817"/>
                    <a:pt x="323507" y="285063"/>
                    <a:pt x="330200" y="298450"/>
                  </a:cubicBezTo>
                  <a:cubicBezTo>
                    <a:pt x="333193" y="304437"/>
                    <a:pt x="342814" y="302961"/>
                    <a:pt x="349250" y="304800"/>
                  </a:cubicBezTo>
                  <a:cubicBezTo>
                    <a:pt x="357641" y="307198"/>
                    <a:pt x="366259" y="308752"/>
                    <a:pt x="374650" y="311150"/>
                  </a:cubicBezTo>
                  <a:cubicBezTo>
                    <a:pt x="438419" y="329370"/>
                    <a:pt x="339695" y="303999"/>
                    <a:pt x="419100" y="323850"/>
                  </a:cubicBezTo>
                  <a:cubicBezTo>
                    <a:pt x="439911" y="309976"/>
                    <a:pt x="430518" y="311150"/>
                    <a:pt x="444500" y="31115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1" name="Freeform 30"/>
            <p:cNvSpPr/>
            <p:nvPr>
              <p:custDataLst>
                <p:tags r:id="rId19"/>
              </p:custDataLst>
            </p:nvPr>
          </p:nvSpPr>
          <p:spPr bwMode="gray">
            <a:xfrm>
              <a:off x="4828237" y="1362048"/>
              <a:ext cx="140508" cy="95250"/>
            </a:xfrm>
            <a:custGeom>
              <a:avLst/>
              <a:gdLst>
                <a:gd name="connsiteX0" fmla="*/ 15412 w 140508"/>
                <a:gd name="connsiteY0" fmla="*/ 57150 h 95250"/>
                <a:gd name="connsiteX1" fmla="*/ 47162 w 140508"/>
                <a:gd name="connsiteY1" fmla="*/ 25400 h 95250"/>
                <a:gd name="connsiteX2" fmla="*/ 53512 w 140508"/>
                <a:gd name="connsiteY2" fmla="*/ 6350 h 95250"/>
                <a:gd name="connsiteX3" fmla="*/ 72562 w 140508"/>
                <a:gd name="connsiteY3" fmla="*/ 0 h 95250"/>
                <a:gd name="connsiteX4" fmla="*/ 117012 w 140508"/>
                <a:gd name="connsiteY4" fmla="*/ 50800 h 95250"/>
                <a:gd name="connsiteX5" fmla="*/ 123362 w 140508"/>
                <a:gd name="connsiteY5" fmla="*/ 88900 h 95250"/>
                <a:gd name="connsiteX6" fmla="*/ 97962 w 140508"/>
                <a:gd name="connsiteY6" fmla="*/ 95250 h 95250"/>
                <a:gd name="connsiteX7" fmla="*/ 66212 w 140508"/>
                <a:gd name="connsiteY7" fmla="*/ 88900 h 95250"/>
                <a:gd name="connsiteX8" fmla="*/ 15412 w 140508"/>
                <a:gd name="connsiteY8" fmla="*/ 571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508" h="95250">
                  <a:moveTo>
                    <a:pt x="15412" y="57150"/>
                  </a:moveTo>
                  <a:cubicBezTo>
                    <a:pt x="12237" y="46567"/>
                    <a:pt x="36579" y="46567"/>
                    <a:pt x="47162" y="25400"/>
                  </a:cubicBezTo>
                  <a:cubicBezTo>
                    <a:pt x="50155" y="19413"/>
                    <a:pt x="48779" y="11083"/>
                    <a:pt x="53512" y="6350"/>
                  </a:cubicBezTo>
                  <a:cubicBezTo>
                    <a:pt x="58245" y="1617"/>
                    <a:pt x="66212" y="2117"/>
                    <a:pt x="72562" y="0"/>
                  </a:cubicBezTo>
                  <a:cubicBezTo>
                    <a:pt x="102195" y="44450"/>
                    <a:pt x="85262" y="29633"/>
                    <a:pt x="117012" y="50800"/>
                  </a:cubicBezTo>
                  <a:cubicBezTo>
                    <a:pt x="123868" y="61083"/>
                    <a:pt x="140508" y="75183"/>
                    <a:pt x="123362" y="88900"/>
                  </a:cubicBezTo>
                  <a:cubicBezTo>
                    <a:pt x="116547" y="94352"/>
                    <a:pt x="106429" y="93133"/>
                    <a:pt x="97962" y="95250"/>
                  </a:cubicBezTo>
                  <a:cubicBezTo>
                    <a:pt x="87379" y="93133"/>
                    <a:pt x="76038" y="93366"/>
                    <a:pt x="66212" y="88900"/>
                  </a:cubicBezTo>
                  <a:cubicBezTo>
                    <a:pt x="0" y="58804"/>
                    <a:pt x="18587" y="67733"/>
                    <a:pt x="15412" y="571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2" name="Freeform 31"/>
            <p:cNvSpPr/>
            <p:nvPr>
              <p:custDataLst>
                <p:tags r:id="rId20"/>
              </p:custDataLst>
            </p:nvPr>
          </p:nvSpPr>
          <p:spPr bwMode="gray">
            <a:xfrm>
              <a:off x="3735633" y="974725"/>
              <a:ext cx="79316" cy="238125"/>
            </a:xfrm>
            <a:custGeom>
              <a:avLst/>
              <a:gdLst>
                <a:gd name="connsiteX0" fmla="*/ 60266 w 79316"/>
                <a:gd name="connsiteY0" fmla="*/ 3175 h 238125"/>
                <a:gd name="connsiteX1" fmla="*/ 22166 w 79316"/>
                <a:gd name="connsiteY1" fmla="*/ 34925 h 238125"/>
                <a:gd name="connsiteX2" fmla="*/ 9466 w 79316"/>
                <a:gd name="connsiteY2" fmla="*/ 53975 h 238125"/>
                <a:gd name="connsiteX3" fmla="*/ 3116 w 79316"/>
                <a:gd name="connsiteY3" fmla="*/ 79375 h 238125"/>
                <a:gd name="connsiteX4" fmla="*/ 15816 w 79316"/>
                <a:gd name="connsiteY4" fmla="*/ 238125 h 238125"/>
                <a:gd name="connsiteX5" fmla="*/ 34866 w 79316"/>
                <a:gd name="connsiteY5" fmla="*/ 193675 h 238125"/>
                <a:gd name="connsiteX6" fmla="*/ 41216 w 79316"/>
                <a:gd name="connsiteY6" fmla="*/ 161925 h 238125"/>
                <a:gd name="connsiteX7" fmla="*/ 79316 w 79316"/>
                <a:gd name="connsiteY7" fmla="*/ 142875 h 238125"/>
                <a:gd name="connsiteX8" fmla="*/ 72966 w 79316"/>
                <a:gd name="connsiteY8" fmla="*/ 123825 h 238125"/>
                <a:gd name="connsiteX9" fmla="*/ 34866 w 79316"/>
                <a:gd name="connsiteY9" fmla="*/ 92075 h 238125"/>
                <a:gd name="connsiteX10" fmla="*/ 41216 w 79316"/>
                <a:gd name="connsiteY10" fmla="*/ 53975 h 238125"/>
                <a:gd name="connsiteX11" fmla="*/ 60266 w 79316"/>
                <a:gd name="connsiteY11" fmla="*/ 15875 h 238125"/>
                <a:gd name="connsiteX12" fmla="*/ 60266 w 79316"/>
                <a:gd name="connsiteY12"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16" h="238125">
                  <a:moveTo>
                    <a:pt x="60266" y="3175"/>
                  </a:moveTo>
                  <a:cubicBezTo>
                    <a:pt x="53916" y="6350"/>
                    <a:pt x="37445" y="16590"/>
                    <a:pt x="22166" y="34925"/>
                  </a:cubicBezTo>
                  <a:cubicBezTo>
                    <a:pt x="17280" y="40788"/>
                    <a:pt x="13699" y="47625"/>
                    <a:pt x="9466" y="53975"/>
                  </a:cubicBezTo>
                  <a:cubicBezTo>
                    <a:pt x="7349" y="62442"/>
                    <a:pt x="3116" y="70648"/>
                    <a:pt x="3116" y="79375"/>
                  </a:cubicBezTo>
                  <a:cubicBezTo>
                    <a:pt x="3116" y="194382"/>
                    <a:pt x="0" y="174860"/>
                    <a:pt x="15816" y="238125"/>
                  </a:cubicBezTo>
                  <a:cubicBezTo>
                    <a:pt x="32162" y="213606"/>
                    <a:pt x="28032" y="224429"/>
                    <a:pt x="34866" y="193675"/>
                  </a:cubicBezTo>
                  <a:cubicBezTo>
                    <a:pt x="37207" y="183139"/>
                    <a:pt x="35861" y="171296"/>
                    <a:pt x="41216" y="161925"/>
                  </a:cubicBezTo>
                  <a:cubicBezTo>
                    <a:pt x="47009" y="151788"/>
                    <a:pt x="69538" y="146134"/>
                    <a:pt x="79316" y="142875"/>
                  </a:cubicBezTo>
                  <a:cubicBezTo>
                    <a:pt x="77199" y="136525"/>
                    <a:pt x="76679" y="129394"/>
                    <a:pt x="72966" y="123825"/>
                  </a:cubicBezTo>
                  <a:cubicBezTo>
                    <a:pt x="63187" y="109157"/>
                    <a:pt x="48923" y="101446"/>
                    <a:pt x="34866" y="92075"/>
                  </a:cubicBezTo>
                  <a:cubicBezTo>
                    <a:pt x="36983" y="79375"/>
                    <a:pt x="37145" y="66189"/>
                    <a:pt x="41216" y="53975"/>
                  </a:cubicBezTo>
                  <a:cubicBezTo>
                    <a:pt x="44560" y="43944"/>
                    <a:pt x="62965" y="29370"/>
                    <a:pt x="60266" y="15875"/>
                  </a:cubicBezTo>
                  <a:cubicBezTo>
                    <a:pt x="59092" y="10004"/>
                    <a:pt x="66616" y="0"/>
                    <a:pt x="60266"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3" name="Freeform 32"/>
            <p:cNvSpPr/>
            <p:nvPr>
              <p:custDataLst>
                <p:tags r:id="rId21"/>
              </p:custDataLst>
            </p:nvPr>
          </p:nvSpPr>
          <p:spPr bwMode="gray">
            <a:xfrm>
              <a:off x="3780083" y="1186597"/>
              <a:ext cx="99822" cy="51653"/>
            </a:xfrm>
            <a:custGeom>
              <a:avLst/>
              <a:gdLst>
                <a:gd name="connsiteX0" fmla="*/ 66616 w 99822"/>
                <a:gd name="connsiteY0" fmla="*/ 7203 h 51653"/>
                <a:gd name="connsiteX1" fmla="*/ 9466 w 99822"/>
                <a:gd name="connsiteY1" fmla="*/ 13553 h 51653"/>
                <a:gd name="connsiteX2" fmla="*/ 22166 w 99822"/>
                <a:gd name="connsiteY2" fmla="*/ 51653 h 51653"/>
                <a:gd name="connsiteX3" fmla="*/ 92016 w 99822"/>
                <a:gd name="connsiteY3" fmla="*/ 45303 h 51653"/>
                <a:gd name="connsiteX4" fmla="*/ 85666 w 99822"/>
                <a:gd name="connsiteY4" fmla="*/ 19903 h 51653"/>
                <a:gd name="connsiteX5" fmla="*/ 66616 w 99822"/>
                <a:gd name="connsiteY5" fmla="*/ 7203 h 5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822" h="51653">
                  <a:moveTo>
                    <a:pt x="66616" y="7203"/>
                  </a:moveTo>
                  <a:cubicBezTo>
                    <a:pt x="53916" y="6145"/>
                    <a:pt x="23019" y="0"/>
                    <a:pt x="9466" y="13553"/>
                  </a:cubicBezTo>
                  <a:cubicBezTo>
                    <a:pt x="0" y="23019"/>
                    <a:pt x="22166" y="51653"/>
                    <a:pt x="22166" y="51653"/>
                  </a:cubicBezTo>
                  <a:lnTo>
                    <a:pt x="92016" y="45303"/>
                  </a:lnTo>
                  <a:cubicBezTo>
                    <a:pt x="99822" y="41400"/>
                    <a:pt x="90507" y="27165"/>
                    <a:pt x="85666" y="19903"/>
                  </a:cubicBezTo>
                  <a:cubicBezTo>
                    <a:pt x="76417" y="6029"/>
                    <a:pt x="79316" y="8261"/>
                    <a:pt x="66616" y="7203"/>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4" name="Freeform 33"/>
            <p:cNvSpPr/>
            <p:nvPr>
              <p:custDataLst>
                <p:tags r:id="rId22"/>
              </p:custDataLst>
            </p:nvPr>
          </p:nvSpPr>
          <p:spPr bwMode="gray">
            <a:xfrm>
              <a:off x="3853049" y="1325033"/>
              <a:ext cx="67275" cy="40217"/>
            </a:xfrm>
            <a:custGeom>
              <a:avLst/>
              <a:gdLst>
                <a:gd name="connsiteX0" fmla="*/ 38100 w 67275"/>
                <a:gd name="connsiteY0" fmla="*/ 2117 h 40217"/>
                <a:gd name="connsiteX1" fmla="*/ 0 w 67275"/>
                <a:gd name="connsiteY1" fmla="*/ 27517 h 40217"/>
                <a:gd name="connsiteX2" fmla="*/ 19050 w 67275"/>
                <a:gd name="connsiteY2" fmla="*/ 40217 h 40217"/>
                <a:gd name="connsiteX3" fmla="*/ 57150 w 67275"/>
                <a:gd name="connsiteY3" fmla="*/ 14817 h 40217"/>
                <a:gd name="connsiteX4" fmla="*/ 38100 w 67275"/>
                <a:gd name="connsiteY4" fmla="*/ 2117 h 40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75" h="40217">
                  <a:moveTo>
                    <a:pt x="38100" y="2117"/>
                  </a:moveTo>
                  <a:cubicBezTo>
                    <a:pt x="28575" y="4234"/>
                    <a:pt x="0" y="11662"/>
                    <a:pt x="0" y="27517"/>
                  </a:cubicBezTo>
                  <a:cubicBezTo>
                    <a:pt x="0" y="35149"/>
                    <a:pt x="12700" y="35984"/>
                    <a:pt x="19050" y="40217"/>
                  </a:cubicBezTo>
                  <a:cubicBezTo>
                    <a:pt x="25296" y="38968"/>
                    <a:pt x="67275" y="40129"/>
                    <a:pt x="57150" y="14817"/>
                  </a:cubicBezTo>
                  <a:cubicBezTo>
                    <a:pt x="54316" y="7731"/>
                    <a:pt x="47625" y="0"/>
                    <a:pt x="38100"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5" name="Freeform 34"/>
            <p:cNvSpPr/>
            <p:nvPr>
              <p:custDataLst>
                <p:tags r:id="rId23"/>
              </p:custDataLst>
            </p:nvPr>
          </p:nvSpPr>
          <p:spPr bwMode="gray">
            <a:xfrm>
              <a:off x="3751449" y="1218277"/>
              <a:ext cx="41362" cy="77123"/>
            </a:xfrm>
            <a:custGeom>
              <a:avLst/>
              <a:gdLst>
                <a:gd name="connsiteX0" fmla="*/ 6350 w 41362"/>
                <a:gd name="connsiteY0" fmla="*/ 7273 h 77123"/>
                <a:gd name="connsiteX1" fmla="*/ 0 w 41362"/>
                <a:gd name="connsiteY1" fmla="*/ 32673 h 77123"/>
                <a:gd name="connsiteX2" fmla="*/ 19050 w 41362"/>
                <a:gd name="connsiteY2" fmla="*/ 77123 h 77123"/>
                <a:gd name="connsiteX3" fmla="*/ 25400 w 41362"/>
                <a:gd name="connsiteY3" fmla="*/ 26323 h 77123"/>
                <a:gd name="connsiteX4" fmla="*/ 6350 w 41362"/>
                <a:gd name="connsiteY4" fmla="*/ 7273 h 77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62" h="77123">
                  <a:moveTo>
                    <a:pt x="6350" y="7273"/>
                  </a:moveTo>
                  <a:cubicBezTo>
                    <a:pt x="2117" y="8331"/>
                    <a:pt x="0" y="23946"/>
                    <a:pt x="0" y="32673"/>
                  </a:cubicBezTo>
                  <a:cubicBezTo>
                    <a:pt x="0" y="53175"/>
                    <a:pt x="8681" y="61569"/>
                    <a:pt x="19050" y="77123"/>
                  </a:cubicBezTo>
                  <a:cubicBezTo>
                    <a:pt x="27718" y="59787"/>
                    <a:pt x="41362" y="46275"/>
                    <a:pt x="25400" y="26323"/>
                  </a:cubicBezTo>
                  <a:cubicBezTo>
                    <a:pt x="4342" y="0"/>
                    <a:pt x="10583" y="6215"/>
                    <a:pt x="6350" y="7273"/>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6" name="Freeform 35"/>
            <p:cNvSpPr/>
            <p:nvPr>
              <p:custDataLst>
                <p:tags r:id="rId24"/>
              </p:custDataLst>
            </p:nvPr>
          </p:nvSpPr>
          <p:spPr bwMode="gray">
            <a:xfrm>
              <a:off x="3948299" y="1343025"/>
              <a:ext cx="58784" cy="47625"/>
            </a:xfrm>
            <a:custGeom>
              <a:avLst/>
              <a:gdLst>
                <a:gd name="connsiteX0" fmla="*/ 12700 w 58784"/>
                <a:gd name="connsiteY0" fmla="*/ 3175 h 47625"/>
                <a:gd name="connsiteX1" fmla="*/ 0 w 58784"/>
                <a:gd name="connsiteY1" fmla="*/ 22225 h 47625"/>
                <a:gd name="connsiteX2" fmla="*/ 31750 w 58784"/>
                <a:gd name="connsiteY2" fmla="*/ 47625 h 47625"/>
                <a:gd name="connsiteX3" fmla="*/ 50800 w 58784"/>
                <a:gd name="connsiteY3" fmla="*/ 34925 h 47625"/>
                <a:gd name="connsiteX4" fmla="*/ 25400 w 58784"/>
                <a:gd name="connsiteY4" fmla="*/ 3175 h 47625"/>
                <a:gd name="connsiteX5" fmla="*/ 12700 w 58784"/>
                <a:gd name="connsiteY5" fmla="*/ 31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84" h="47625">
                  <a:moveTo>
                    <a:pt x="12700" y="3175"/>
                  </a:moveTo>
                  <a:cubicBezTo>
                    <a:pt x="8467" y="6350"/>
                    <a:pt x="0" y="14593"/>
                    <a:pt x="0" y="22225"/>
                  </a:cubicBezTo>
                  <a:cubicBezTo>
                    <a:pt x="0" y="41373"/>
                    <a:pt x="19855" y="43660"/>
                    <a:pt x="31750" y="47625"/>
                  </a:cubicBezTo>
                  <a:cubicBezTo>
                    <a:pt x="38100" y="43392"/>
                    <a:pt x="48387" y="42165"/>
                    <a:pt x="50800" y="34925"/>
                  </a:cubicBezTo>
                  <a:cubicBezTo>
                    <a:pt x="58784" y="10974"/>
                    <a:pt x="40491" y="6193"/>
                    <a:pt x="25400" y="3175"/>
                  </a:cubicBezTo>
                  <a:cubicBezTo>
                    <a:pt x="21249" y="2345"/>
                    <a:pt x="16933" y="0"/>
                    <a:pt x="12700"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7" name="Freeform 36"/>
            <p:cNvSpPr/>
            <p:nvPr>
              <p:custDataLst>
                <p:tags r:id="rId25"/>
              </p:custDataLst>
            </p:nvPr>
          </p:nvSpPr>
          <p:spPr bwMode="gray">
            <a:xfrm>
              <a:off x="3837936" y="1254125"/>
              <a:ext cx="61324" cy="28575"/>
            </a:xfrm>
            <a:custGeom>
              <a:avLst/>
              <a:gdLst>
                <a:gd name="connsiteX0" fmla="*/ 46863 w 61324"/>
                <a:gd name="connsiteY0" fmla="*/ 3175 h 28575"/>
                <a:gd name="connsiteX1" fmla="*/ 27813 w 61324"/>
                <a:gd name="connsiteY1" fmla="*/ 9525 h 28575"/>
                <a:gd name="connsiteX2" fmla="*/ 2413 w 61324"/>
                <a:gd name="connsiteY2" fmla="*/ 15875 h 28575"/>
                <a:gd name="connsiteX3" fmla="*/ 21463 w 61324"/>
                <a:gd name="connsiteY3" fmla="*/ 28575 h 28575"/>
                <a:gd name="connsiteX4" fmla="*/ 46863 w 61324"/>
                <a:gd name="connsiteY4" fmla="*/ 317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24" h="28575">
                  <a:moveTo>
                    <a:pt x="46863" y="3175"/>
                  </a:moveTo>
                  <a:cubicBezTo>
                    <a:pt x="47921" y="0"/>
                    <a:pt x="34249" y="7686"/>
                    <a:pt x="27813" y="9525"/>
                  </a:cubicBezTo>
                  <a:cubicBezTo>
                    <a:pt x="19422" y="11923"/>
                    <a:pt x="5173" y="7596"/>
                    <a:pt x="2413" y="15875"/>
                  </a:cubicBezTo>
                  <a:cubicBezTo>
                    <a:pt x="0" y="23115"/>
                    <a:pt x="15113" y="24342"/>
                    <a:pt x="21463" y="28575"/>
                  </a:cubicBezTo>
                  <a:cubicBezTo>
                    <a:pt x="61324" y="2001"/>
                    <a:pt x="45805" y="6350"/>
                    <a:pt x="46863" y="3175"/>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8" name="Freeform 37"/>
            <p:cNvSpPr/>
            <p:nvPr>
              <p:custDataLst>
                <p:tags r:id="rId26"/>
              </p:custDataLst>
            </p:nvPr>
          </p:nvSpPr>
          <p:spPr bwMode="gray">
            <a:xfrm>
              <a:off x="4934883" y="2019300"/>
              <a:ext cx="1559766" cy="1511300"/>
            </a:xfrm>
            <a:custGeom>
              <a:avLst/>
              <a:gdLst>
                <a:gd name="connsiteX0" fmla="*/ 816816 w 1559766"/>
                <a:gd name="connsiteY0" fmla="*/ 1339850 h 1511300"/>
                <a:gd name="connsiteX1" fmla="*/ 848566 w 1559766"/>
                <a:gd name="connsiteY1" fmla="*/ 1365250 h 1511300"/>
                <a:gd name="connsiteX2" fmla="*/ 886666 w 1559766"/>
                <a:gd name="connsiteY2" fmla="*/ 1403350 h 1511300"/>
                <a:gd name="connsiteX3" fmla="*/ 899366 w 1559766"/>
                <a:gd name="connsiteY3" fmla="*/ 1511300 h 1511300"/>
                <a:gd name="connsiteX4" fmla="*/ 918416 w 1559766"/>
                <a:gd name="connsiteY4" fmla="*/ 1504950 h 1511300"/>
                <a:gd name="connsiteX5" fmla="*/ 937466 w 1559766"/>
                <a:gd name="connsiteY5" fmla="*/ 1492250 h 1511300"/>
                <a:gd name="connsiteX6" fmla="*/ 943816 w 1559766"/>
                <a:gd name="connsiteY6" fmla="*/ 1473200 h 1511300"/>
                <a:gd name="connsiteX7" fmla="*/ 969216 w 1559766"/>
                <a:gd name="connsiteY7" fmla="*/ 1466850 h 1511300"/>
                <a:gd name="connsiteX8" fmla="*/ 994616 w 1559766"/>
                <a:gd name="connsiteY8" fmla="*/ 1473200 h 1511300"/>
                <a:gd name="connsiteX9" fmla="*/ 1007316 w 1559766"/>
                <a:gd name="connsiteY9" fmla="*/ 1492250 h 1511300"/>
                <a:gd name="connsiteX10" fmla="*/ 1045416 w 1559766"/>
                <a:gd name="connsiteY10" fmla="*/ 1504950 h 1511300"/>
                <a:gd name="connsiteX11" fmla="*/ 1102566 w 1559766"/>
                <a:gd name="connsiteY11" fmla="*/ 1498600 h 1511300"/>
                <a:gd name="connsiteX12" fmla="*/ 1147016 w 1559766"/>
                <a:gd name="connsiteY12" fmla="*/ 1492250 h 1511300"/>
                <a:gd name="connsiteX13" fmla="*/ 1229566 w 1559766"/>
                <a:gd name="connsiteY13" fmla="*/ 1485900 h 1511300"/>
                <a:gd name="connsiteX14" fmla="*/ 1248616 w 1559766"/>
                <a:gd name="connsiteY14" fmla="*/ 1447800 h 1511300"/>
                <a:gd name="connsiteX15" fmla="*/ 1261316 w 1559766"/>
                <a:gd name="connsiteY15" fmla="*/ 1384300 h 1511300"/>
                <a:gd name="connsiteX16" fmla="*/ 1305766 w 1559766"/>
                <a:gd name="connsiteY16" fmla="*/ 1365250 h 1511300"/>
                <a:gd name="connsiteX17" fmla="*/ 1343866 w 1559766"/>
                <a:gd name="connsiteY17" fmla="*/ 1371600 h 1511300"/>
                <a:gd name="connsiteX18" fmla="*/ 1356566 w 1559766"/>
                <a:gd name="connsiteY18" fmla="*/ 1390650 h 1511300"/>
                <a:gd name="connsiteX19" fmla="*/ 1394666 w 1559766"/>
                <a:gd name="connsiteY19" fmla="*/ 1377950 h 1511300"/>
                <a:gd name="connsiteX20" fmla="*/ 1432766 w 1559766"/>
                <a:gd name="connsiteY20" fmla="*/ 1365250 h 1511300"/>
                <a:gd name="connsiteX21" fmla="*/ 1470866 w 1559766"/>
                <a:gd name="connsiteY21" fmla="*/ 1352550 h 1511300"/>
                <a:gd name="connsiteX22" fmla="*/ 1496266 w 1559766"/>
                <a:gd name="connsiteY22" fmla="*/ 1358900 h 1511300"/>
                <a:gd name="connsiteX23" fmla="*/ 1515316 w 1559766"/>
                <a:gd name="connsiteY23" fmla="*/ 1365250 h 1511300"/>
                <a:gd name="connsiteX24" fmla="*/ 1547066 w 1559766"/>
                <a:gd name="connsiteY24" fmla="*/ 1358900 h 1511300"/>
                <a:gd name="connsiteX25" fmla="*/ 1559766 w 1559766"/>
                <a:gd name="connsiteY25" fmla="*/ 1339850 h 1511300"/>
                <a:gd name="connsiteX26" fmla="*/ 1547066 w 1559766"/>
                <a:gd name="connsiteY26" fmla="*/ 1276350 h 1511300"/>
                <a:gd name="connsiteX27" fmla="*/ 1540716 w 1559766"/>
                <a:gd name="connsiteY27" fmla="*/ 1257300 h 1511300"/>
                <a:gd name="connsiteX28" fmla="*/ 1489916 w 1559766"/>
                <a:gd name="connsiteY28" fmla="*/ 1200150 h 1511300"/>
                <a:gd name="connsiteX29" fmla="*/ 1483566 w 1559766"/>
                <a:gd name="connsiteY29" fmla="*/ 1181100 h 1511300"/>
                <a:gd name="connsiteX30" fmla="*/ 1496266 w 1559766"/>
                <a:gd name="connsiteY30" fmla="*/ 1111250 h 1511300"/>
                <a:gd name="connsiteX31" fmla="*/ 1521666 w 1559766"/>
                <a:gd name="connsiteY31" fmla="*/ 1073150 h 1511300"/>
                <a:gd name="connsiteX32" fmla="*/ 1528016 w 1559766"/>
                <a:gd name="connsiteY32" fmla="*/ 1035050 h 1511300"/>
                <a:gd name="connsiteX33" fmla="*/ 1528016 w 1559766"/>
                <a:gd name="connsiteY33" fmla="*/ 990600 h 1511300"/>
                <a:gd name="connsiteX34" fmla="*/ 1508966 w 1559766"/>
                <a:gd name="connsiteY34" fmla="*/ 977900 h 1511300"/>
                <a:gd name="connsiteX35" fmla="*/ 1502616 w 1559766"/>
                <a:gd name="connsiteY35" fmla="*/ 939800 h 1511300"/>
                <a:gd name="connsiteX36" fmla="*/ 1496266 w 1559766"/>
                <a:gd name="connsiteY36" fmla="*/ 869950 h 1511300"/>
                <a:gd name="connsiteX37" fmla="*/ 1458166 w 1559766"/>
                <a:gd name="connsiteY37" fmla="*/ 857250 h 1511300"/>
                <a:gd name="connsiteX38" fmla="*/ 1439116 w 1559766"/>
                <a:gd name="connsiteY38" fmla="*/ 838200 h 1511300"/>
                <a:gd name="connsiteX39" fmla="*/ 1426416 w 1559766"/>
                <a:gd name="connsiteY39" fmla="*/ 800100 h 1511300"/>
                <a:gd name="connsiteX40" fmla="*/ 1432766 w 1559766"/>
                <a:gd name="connsiteY40" fmla="*/ 755650 h 1511300"/>
                <a:gd name="connsiteX41" fmla="*/ 1445466 w 1559766"/>
                <a:gd name="connsiteY41" fmla="*/ 730250 h 1511300"/>
                <a:gd name="connsiteX42" fmla="*/ 1464516 w 1559766"/>
                <a:gd name="connsiteY42" fmla="*/ 692150 h 1511300"/>
                <a:gd name="connsiteX43" fmla="*/ 1426416 w 1559766"/>
                <a:gd name="connsiteY43" fmla="*/ 615950 h 1511300"/>
                <a:gd name="connsiteX44" fmla="*/ 1407366 w 1559766"/>
                <a:gd name="connsiteY44" fmla="*/ 596900 h 1511300"/>
                <a:gd name="connsiteX45" fmla="*/ 1369266 w 1559766"/>
                <a:gd name="connsiteY45" fmla="*/ 584200 h 1511300"/>
                <a:gd name="connsiteX46" fmla="*/ 1337516 w 1559766"/>
                <a:gd name="connsiteY46" fmla="*/ 546100 h 1511300"/>
                <a:gd name="connsiteX47" fmla="*/ 1318466 w 1559766"/>
                <a:gd name="connsiteY47" fmla="*/ 508000 h 1511300"/>
                <a:gd name="connsiteX48" fmla="*/ 1280366 w 1559766"/>
                <a:gd name="connsiteY48" fmla="*/ 495300 h 1511300"/>
                <a:gd name="connsiteX49" fmla="*/ 1261316 w 1559766"/>
                <a:gd name="connsiteY49" fmla="*/ 488950 h 1511300"/>
                <a:gd name="connsiteX50" fmla="*/ 1242266 w 1559766"/>
                <a:gd name="connsiteY50" fmla="*/ 476250 h 1511300"/>
                <a:gd name="connsiteX51" fmla="*/ 1242266 w 1559766"/>
                <a:gd name="connsiteY51" fmla="*/ 431800 h 1511300"/>
                <a:gd name="connsiteX52" fmla="*/ 1235916 w 1559766"/>
                <a:gd name="connsiteY52" fmla="*/ 368300 h 1511300"/>
                <a:gd name="connsiteX53" fmla="*/ 1254966 w 1559766"/>
                <a:gd name="connsiteY53" fmla="*/ 361950 h 1511300"/>
                <a:gd name="connsiteX54" fmla="*/ 1280366 w 1559766"/>
                <a:gd name="connsiteY54" fmla="*/ 349250 h 1511300"/>
                <a:gd name="connsiteX55" fmla="*/ 1318466 w 1559766"/>
                <a:gd name="connsiteY55" fmla="*/ 323850 h 1511300"/>
                <a:gd name="connsiteX56" fmla="*/ 1318466 w 1559766"/>
                <a:gd name="connsiteY56" fmla="*/ 209550 h 1511300"/>
                <a:gd name="connsiteX57" fmla="*/ 1343866 w 1559766"/>
                <a:gd name="connsiteY57" fmla="*/ 171450 h 1511300"/>
                <a:gd name="connsiteX58" fmla="*/ 1337516 w 1559766"/>
                <a:gd name="connsiteY58" fmla="*/ 133350 h 1511300"/>
                <a:gd name="connsiteX59" fmla="*/ 1305766 w 1559766"/>
                <a:gd name="connsiteY59" fmla="*/ 139700 h 1511300"/>
                <a:gd name="connsiteX60" fmla="*/ 1280366 w 1559766"/>
                <a:gd name="connsiteY60" fmla="*/ 177800 h 1511300"/>
                <a:gd name="connsiteX61" fmla="*/ 1235916 w 1559766"/>
                <a:gd name="connsiteY61" fmla="*/ 165100 h 1511300"/>
                <a:gd name="connsiteX62" fmla="*/ 1229566 w 1559766"/>
                <a:gd name="connsiteY62" fmla="*/ 146050 h 1511300"/>
                <a:gd name="connsiteX63" fmla="*/ 1235916 w 1559766"/>
                <a:gd name="connsiteY63" fmla="*/ 127000 h 1511300"/>
                <a:gd name="connsiteX64" fmla="*/ 1229566 w 1559766"/>
                <a:gd name="connsiteY64" fmla="*/ 69850 h 1511300"/>
                <a:gd name="connsiteX65" fmla="*/ 1204166 w 1559766"/>
                <a:gd name="connsiteY65" fmla="*/ 57150 h 1511300"/>
                <a:gd name="connsiteX66" fmla="*/ 1134316 w 1559766"/>
                <a:gd name="connsiteY66" fmla="*/ 50800 h 1511300"/>
                <a:gd name="connsiteX67" fmla="*/ 1115266 w 1559766"/>
                <a:gd name="connsiteY67" fmla="*/ 44450 h 1511300"/>
                <a:gd name="connsiteX68" fmla="*/ 1102566 w 1559766"/>
                <a:gd name="connsiteY68" fmla="*/ 25400 h 1511300"/>
                <a:gd name="connsiteX69" fmla="*/ 1064466 w 1559766"/>
                <a:gd name="connsiteY69" fmla="*/ 0 h 1511300"/>
                <a:gd name="connsiteX70" fmla="*/ 1045416 w 1559766"/>
                <a:gd name="connsiteY70" fmla="*/ 6350 h 1511300"/>
                <a:gd name="connsiteX71" fmla="*/ 1026366 w 1559766"/>
                <a:gd name="connsiteY71" fmla="*/ 25400 h 1511300"/>
                <a:gd name="connsiteX72" fmla="*/ 1007316 w 1559766"/>
                <a:gd name="connsiteY72" fmla="*/ 38100 h 1511300"/>
                <a:gd name="connsiteX73" fmla="*/ 981916 w 1559766"/>
                <a:gd name="connsiteY73" fmla="*/ 76200 h 1511300"/>
                <a:gd name="connsiteX74" fmla="*/ 969216 w 1559766"/>
                <a:gd name="connsiteY74" fmla="*/ 114300 h 1511300"/>
                <a:gd name="connsiteX75" fmla="*/ 950166 w 1559766"/>
                <a:gd name="connsiteY75" fmla="*/ 171450 h 1511300"/>
                <a:gd name="connsiteX76" fmla="*/ 931116 w 1559766"/>
                <a:gd name="connsiteY76" fmla="*/ 184150 h 1511300"/>
                <a:gd name="connsiteX77" fmla="*/ 918416 w 1559766"/>
                <a:gd name="connsiteY77" fmla="*/ 203200 h 1511300"/>
                <a:gd name="connsiteX78" fmla="*/ 873966 w 1559766"/>
                <a:gd name="connsiteY78" fmla="*/ 203200 h 1511300"/>
                <a:gd name="connsiteX79" fmla="*/ 854916 w 1559766"/>
                <a:gd name="connsiteY79" fmla="*/ 196850 h 1511300"/>
                <a:gd name="connsiteX80" fmla="*/ 835866 w 1559766"/>
                <a:gd name="connsiteY80" fmla="*/ 209550 h 1511300"/>
                <a:gd name="connsiteX81" fmla="*/ 823166 w 1559766"/>
                <a:gd name="connsiteY81" fmla="*/ 228600 h 1511300"/>
                <a:gd name="connsiteX82" fmla="*/ 804116 w 1559766"/>
                <a:gd name="connsiteY82" fmla="*/ 222250 h 1511300"/>
                <a:gd name="connsiteX83" fmla="*/ 746966 w 1559766"/>
                <a:gd name="connsiteY83" fmla="*/ 234950 h 1511300"/>
                <a:gd name="connsiteX84" fmla="*/ 727916 w 1559766"/>
                <a:gd name="connsiteY84" fmla="*/ 247650 h 1511300"/>
                <a:gd name="connsiteX85" fmla="*/ 708866 w 1559766"/>
                <a:gd name="connsiteY85" fmla="*/ 260350 h 1511300"/>
                <a:gd name="connsiteX86" fmla="*/ 645366 w 1559766"/>
                <a:gd name="connsiteY86" fmla="*/ 247650 h 1511300"/>
                <a:gd name="connsiteX87" fmla="*/ 626316 w 1559766"/>
                <a:gd name="connsiteY87" fmla="*/ 241300 h 1511300"/>
                <a:gd name="connsiteX88" fmla="*/ 588216 w 1559766"/>
                <a:gd name="connsiteY88" fmla="*/ 209550 h 1511300"/>
                <a:gd name="connsiteX89" fmla="*/ 543766 w 1559766"/>
                <a:gd name="connsiteY89" fmla="*/ 215900 h 1511300"/>
                <a:gd name="connsiteX90" fmla="*/ 454866 w 1559766"/>
                <a:gd name="connsiteY90" fmla="*/ 184150 h 1511300"/>
                <a:gd name="connsiteX91" fmla="*/ 454866 w 1559766"/>
                <a:gd name="connsiteY91" fmla="*/ 184150 h 1511300"/>
                <a:gd name="connsiteX92" fmla="*/ 416766 w 1559766"/>
                <a:gd name="connsiteY92" fmla="*/ 171450 h 1511300"/>
                <a:gd name="connsiteX93" fmla="*/ 327866 w 1559766"/>
                <a:gd name="connsiteY93" fmla="*/ 177800 h 1511300"/>
                <a:gd name="connsiteX94" fmla="*/ 302466 w 1559766"/>
                <a:gd name="connsiteY94" fmla="*/ 209550 h 1511300"/>
                <a:gd name="connsiteX95" fmla="*/ 238966 w 1559766"/>
                <a:gd name="connsiteY95" fmla="*/ 228600 h 1511300"/>
                <a:gd name="connsiteX96" fmla="*/ 226266 w 1559766"/>
                <a:gd name="connsiteY96" fmla="*/ 247650 h 1511300"/>
                <a:gd name="connsiteX97" fmla="*/ 175466 w 1559766"/>
                <a:gd name="connsiteY97" fmla="*/ 234950 h 1511300"/>
                <a:gd name="connsiteX98" fmla="*/ 156416 w 1559766"/>
                <a:gd name="connsiteY98" fmla="*/ 241300 h 1511300"/>
                <a:gd name="connsiteX99" fmla="*/ 143716 w 1559766"/>
                <a:gd name="connsiteY99" fmla="*/ 260350 h 1511300"/>
                <a:gd name="connsiteX100" fmla="*/ 124666 w 1559766"/>
                <a:gd name="connsiteY100" fmla="*/ 279400 h 1511300"/>
                <a:gd name="connsiteX101" fmla="*/ 105616 w 1559766"/>
                <a:gd name="connsiteY101" fmla="*/ 292100 h 1511300"/>
                <a:gd name="connsiteX102" fmla="*/ 48466 w 1559766"/>
                <a:gd name="connsiteY102" fmla="*/ 304800 h 1511300"/>
                <a:gd name="connsiteX103" fmla="*/ 29416 w 1559766"/>
                <a:gd name="connsiteY103" fmla="*/ 311150 h 1511300"/>
                <a:gd name="connsiteX104" fmla="*/ 4016 w 1559766"/>
                <a:gd name="connsiteY104" fmla="*/ 317500 h 1511300"/>
                <a:gd name="connsiteX105" fmla="*/ 10366 w 1559766"/>
                <a:gd name="connsiteY105" fmla="*/ 336550 h 1511300"/>
                <a:gd name="connsiteX106" fmla="*/ 35766 w 1559766"/>
                <a:gd name="connsiteY106" fmla="*/ 349250 h 1511300"/>
                <a:gd name="connsiteX107" fmla="*/ 73866 w 1559766"/>
                <a:gd name="connsiteY107" fmla="*/ 368300 h 1511300"/>
                <a:gd name="connsiteX108" fmla="*/ 162766 w 1559766"/>
                <a:gd name="connsiteY108" fmla="*/ 368300 h 1511300"/>
                <a:gd name="connsiteX109" fmla="*/ 169116 w 1559766"/>
                <a:gd name="connsiteY109" fmla="*/ 387350 h 1511300"/>
                <a:gd name="connsiteX110" fmla="*/ 175466 w 1559766"/>
                <a:gd name="connsiteY110" fmla="*/ 412750 h 1511300"/>
                <a:gd name="connsiteX111" fmla="*/ 194516 w 1559766"/>
                <a:gd name="connsiteY111" fmla="*/ 419100 h 1511300"/>
                <a:gd name="connsiteX112" fmla="*/ 219916 w 1559766"/>
                <a:gd name="connsiteY112" fmla="*/ 425450 h 1511300"/>
                <a:gd name="connsiteX113" fmla="*/ 264366 w 1559766"/>
                <a:gd name="connsiteY113" fmla="*/ 482600 h 1511300"/>
                <a:gd name="connsiteX114" fmla="*/ 283416 w 1559766"/>
                <a:gd name="connsiteY114" fmla="*/ 488950 h 1511300"/>
                <a:gd name="connsiteX115" fmla="*/ 346916 w 1559766"/>
                <a:gd name="connsiteY115" fmla="*/ 482600 h 1511300"/>
                <a:gd name="connsiteX116" fmla="*/ 365966 w 1559766"/>
                <a:gd name="connsiteY116" fmla="*/ 476250 h 1511300"/>
                <a:gd name="connsiteX117" fmla="*/ 385016 w 1559766"/>
                <a:gd name="connsiteY117" fmla="*/ 482600 h 1511300"/>
                <a:gd name="connsiteX118" fmla="*/ 391366 w 1559766"/>
                <a:gd name="connsiteY118" fmla="*/ 508000 h 1511300"/>
                <a:gd name="connsiteX119" fmla="*/ 410416 w 1559766"/>
                <a:gd name="connsiteY119" fmla="*/ 495300 h 1511300"/>
                <a:gd name="connsiteX120" fmla="*/ 429466 w 1559766"/>
                <a:gd name="connsiteY120" fmla="*/ 488950 h 1511300"/>
                <a:gd name="connsiteX121" fmla="*/ 435816 w 1559766"/>
                <a:gd name="connsiteY121" fmla="*/ 508000 h 1511300"/>
                <a:gd name="connsiteX122" fmla="*/ 429466 w 1559766"/>
                <a:gd name="connsiteY122" fmla="*/ 546100 h 1511300"/>
                <a:gd name="connsiteX123" fmla="*/ 416766 w 1559766"/>
                <a:gd name="connsiteY123" fmla="*/ 596900 h 1511300"/>
                <a:gd name="connsiteX124" fmla="*/ 423116 w 1559766"/>
                <a:gd name="connsiteY124" fmla="*/ 615950 h 1511300"/>
                <a:gd name="connsiteX125" fmla="*/ 442166 w 1559766"/>
                <a:gd name="connsiteY125" fmla="*/ 628650 h 1511300"/>
                <a:gd name="connsiteX126" fmla="*/ 423116 w 1559766"/>
                <a:gd name="connsiteY126" fmla="*/ 666750 h 1511300"/>
                <a:gd name="connsiteX127" fmla="*/ 410416 w 1559766"/>
                <a:gd name="connsiteY127" fmla="*/ 704850 h 1511300"/>
                <a:gd name="connsiteX128" fmla="*/ 404066 w 1559766"/>
                <a:gd name="connsiteY128" fmla="*/ 723900 h 1511300"/>
                <a:gd name="connsiteX129" fmla="*/ 410416 w 1559766"/>
                <a:gd name="connsiteY129" fmla="*/ 749300 h 1511300"/>
                <a:gd name="connsiteX130" fmla="*/ 448516 w 1559766"/>
                <a:gd name="connsiteY130" fmla="*/ 755650 h 1511300"/>
                <a:gd name="connsiteX131" fmla="*/ 467566 w 1559766"/>
                <a:gd name="connsiteY131" fmla="*/ 768350 h 1511300"/>
                <a:gd name="connsiteX132" fmla="*/ 467566 w 1559766"/>
                <a:gd name="connsiteY132" fmla="*/ 819150 h 1511300"/>
                <a:gd name="connsiteX133" fmla="*/ 454866 w 1559766"/>
                <a:gd name="connsiteY133" fmla="*/ 857250 h 1511300"/>
                <a:gd name="connsiteX134" fmla="*/ 448516 w 1559766"/>
                <a:gd name="connsiteY134" fmla="*/ 958850 h 1511300"/>
                <a:gd name="connsiteX135" fmla="*/ 467566 w 1559766"/>
                <a:gd name="connsiteY135" fmla="*/ 1028700 h 1511300"/>
                <a:gd name="connsiteX136" fmla="*/ 480266 w 1559766"/>
                <a:gd name="connsiteY136" fmla="*/ 1047750 h 1511300"/>
                <a:gd name="connsiteX137" fmla="*/ 505666 w 1559766"/>
                <a:gd name="connsiteY137" fmla="*/ 1092200 h 1511300"/>
                <a:gd name="connsiteX138" fmla="*/ 524716 w 1559766"/>
                <a:gd name="connsiteY138" fmla="*/ 1098550 h 1511300"/>
                <a:gd name="connsiteX139" fmla="*/ 588216 w 1559766"/>
                <a:gd name="connsiteY139" fmla="*/ 1111250 h 1511300"/>
                <a:gd name="connsiteX140" fmla="*/ 607266 w 1559766"/>
                <a:gd name="connsiteY140" fmla="*/ 1117600 h 1511300"/>
                <a:gd name="connsiteX141" fmla="*/ 632666 w 1559766"/>
                <a:gd name="connsiteY141" fmla="*/ 1092200 h 1511300"/>
                <a:gd name="connsiteX142" fmla="*/ 651716 w 1559766"/>
                <a:gd name="connsiteY142" fmla="*/ 1085850 h 1511300"/>
                <a:gd name="connsiteX143" fmla="*/ 670766 w 1559766"/>
                <a:gd name="connsiteY143" fmla="*/ 1098550 h 1511300"/>
                <a:gd name="connsiteX144" fmla="*/ 689816 w 1559766"/>
                <a:gd name="connsiteY144" fmla="*/ 1136650 h 1511300"/>
                <a:gd name="connsiteX145" fmla="*/ 708866 w 1559766"/>
                <a:gd name="connsiteY145" fmla="*/ 1149350 h 1511300"/>
                <a:gd name="connsiteX146" fmla="*/ 791416 w 1559766"/>
                <a:gd name="connsiteY146" fmla="*/ 1162050 h 1511300"/>
                <a:gd name="connsiteX147" fmla="*/ 804116 w 1559766"/>
                <a:gd name="connsiteY147" fmla="*/ 1181100 h 1511300"/>
                <a:gd name="connsiteX148" fmla="*/ 823166 w 1559766"/>
                <a:gd name="connsiteY148" fmla="*/ 1193800 h 1511300"/>
                <a:gd name="connsiteX149" fmla="*/ 842216 w 1559766"/>
                <a:gd name="connsiteY149" fmla="*/ 1212850 h 1511300"/>
                <a:gd name="connsiteX150" fmla="*/ 848566 w 1559766"/>
                <a:gd name="connsiteY150" fmla="*/ 1263650 h 1511300"/>
                <a:gd name="connsiteX151" fmla="*/ 854916 w 1559766"/>
                <a:gd name="connsiteY151" fmla="*/ 1282700 h 1511300"/>
                <a:gd name="connsiteX152" fmla="*/ 829516 w 1559766"/>
                <a:gd name="connsiteY152" fmla="*/ 1320800 h 1511300"/>
                <a:gd name="connsiteX153" fmla="*/ 816816 w 1559766"/>
                <a:gd name="connsiteY153" fmla="*/ 1339850 h 151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559766" h="1511300">
                  <a:moveTo>
                    <a:pt x="816816" y="1339850"/>
                  </a:moveTo>
                  <a:cubicBezTo>
                    <a:pt x="819991" y="1347258"/>
                    <a:pt x="824379" y="1338039"/>
                    <a:pt x="848566" y="1365250"/>
                  </a:cubicBezTo>
                  <a:cubicBezTo>
                    <a:pt x="860498" y="1378674"/>
                    <a:pt x="886666" y="1403350"/>
                    <a:pt x="886666" y="1403350"/>
                  </a:cubicBezTo>
                  <a:cubicBezTo>
                    <a:pt x="885840" y="1414916"/>
                    <a:pt x="857446" y="1497327"/>
                    <a:pt x="899366" y="1511300"/>
                  </a:cubicBezTo>
                  <a:lnTo>
                    <a:pt x="918416" y="1504950"/>
                  </a:lnTo>
                  <a:cubicBezTo>
                    <a:pt x="924766" y="1500717"/>
                    <a:pt x="932698" y="1498209"/>
                    <a:pt x="937466" y="1492250"/>
                  </a:cubicBezTo>
                  <a:cubicBezTo>
                    <a:pt x="941647" y="1487023"/>
                    <a:pt x="938589" y="1477381"/>
                    <a:pt x="943816" y="1473200"/>
                  </a:cubicBezTo>
                  <a:cubicBezTo>
                    <a:pt x="950631" y="1467748"/>
                    <a:pt x="960749" y="1468967"/>
                    <a:pt x="969216" y="1466850"/>
                  </a:cubicBezTo>
                  <a:cubicBezTo>
                    <a:pt x="977683" y="1468967"/>
                    <a:pt x="987354" y="1468359"/>
                    <a:pt x="994616" y="1473200"/>
                  </a:cubicBezTo>
                  <a:cubicBezTo>
                    <a:pt x="1000966" y="1477433"/>
                    <a:pt x="1000844" y="1488205"/>
                    <a:pt x="1007316" y="1492250"/>
                  </a:cubicBezTo>
                  <a:cubicBezTo>
                    <a:pt x="1018668" y="1499345"/>
                    <a:pt x="1045416" y="1504950"/>
                    <a:pt x="1045416" y="1504950"/>
                  </a:cubicBezTo>
                  <a:lnTo>
                    <a:pt x="1102566" y="1498600"/>
                  </a:lnTo>
                  <a:cubicBezTo>
                    <a:pt x="1117418" y="1496744"/>
                    <a:pt x="1132123" y="1493739"/>
                    <a:pt x="1147016" y="1492250"/>
                  </a:cubicBezTo>
                  <a:cubicBezTo>
                    <a:pt x="1174477" y="1489504"/>
                    <a:pt x="1202049" y="1488017"/>
                    <a:pt x="1229566" y="1485900"/>
                  </a:cubicBezTo>
                  <a:cubicBezTo>
                    <a:pt x="1241277" y="1468334"/>
                    <a:pt x="1243977" y="1467904"/>
                    <a:pt x="1248616" y="1447800"/>
                  </a:cubicBezTo>
                  <a:cubicBezTo>
                    <a:pt x="1253470" y="1426767"/>
                    <a:pt x="1242009" y="1393953"/>
                    <a:pt x="1261316" y="1384300"/>
                  </a:cubicBezTo>
                  <a:cubicBezTo>
                    <a:pt x="1292703" y="1368607"/>
                    <a:pt x="1277736" y="1374593"/>
                    <a:pt x="1305766" y="1365250"/>
                  </a:cubicBezTo>
                  <a:cubicBezTo>
                    <a:pt x="1318466" y="1367367"/>
                    <a:pt x="1332350" y="1365842"/>
                    <a:pt x="1343866" y="1371600"/>
                  </a:cubicBezTo>
                  <a:cubicBezTo>
                    <a:pt x="1350692" y="1375013"/>
                    <a:pt x="1348993" y="1389703"/>
                    <a:pt x="1356566" y="1390650"/>
                  </a:cubicBezTo>
                  <a:cubicBezTo>
                    <a:pt x="1369850" y="1392310"/>
                    <a:pt x="1394666" y="1377950"/>
                    <a:pt x="1394666" y="1377950"/>
                  </a:cubicBezTo>
                  <a:cubicBezTo>
                    <a:pt x="1436943" y="1335673"/>
                    <a:pt x="1391412" y="1369845"/>
                    <a:pt x="1432766" y="1365250"/>
                  </a:cubicBezTo>
                  <a:cubicBezTo>
                    <a:pt x="1446071" y="1363772"/>
                    <a:pt x="1470866" y="1352550"/>
                    <a:pt x="1470866" y="1352550"/>
                  </a:cubicBezTo>
                  <a:cubicBezTo>
                    <a:pt x="1479333" y="1354667"/>
                    <a:pt x="1487875" y="1356502"/>
                    <a:pt x="1496266" y="1358900"/>
                  </a:cubicBezTo>
                  <a:cubicBezTo>
                    <a:pt x="1502702" y="1360739"/>
                    <a:pt x="1508623" y="1365250"/>
                    <a:pt x="1515316" y="1365250"/>
                  </a:cubicBezTo>
                  <a:cubicBezTo>
                    <a:pt x="1526109" y="1365250"/>
                    <a:pt x="1536483" y="1361017"/>
                    <a:pt x="1547066" y="1358900"/>
                  </a:cubicBezTo>
                  <a:cubicBezTo>
                    <a:pt x="1551299" y="1352550"/>
                    <a:pt x="1559766" y="1347482"/>
                    <a:pt x="1559766" y="1339850"/>
                  </a:cubicBezTo>
                  <a:cubicBezTo>
                    <a:pt x="1559766" y="1318264"/>
                    <a:pt x="1553892" y="1296828"/>
                    <a:pt x="1547066" y="1276350"/>
                  </a:cubicBezTo>
                  <a:cubicBezTo>
                    <a:pt x="1544949" y="1270000"/>
                    <a:pt x="1544825" y="1262584"/>
                    <a:pt x="1540716" y="1257300"/>
                  </a:cubicBezTo>
                  <a:cubicBezTo>
                    <a:pt x="1517155" y="1227007"/>
                    <a:pt x="1504108" y="1228534"/>
                    <a:pt x="1489916" y="1200150"/>
                  </a:cubicBezTo>
                  <a:cubicBezTo>
                    <a:pt x="1486923" y="1194163"/>
                    <a:pt x="1485683" y="1187450"/>
                    <a:pt x="1483566" y="1181100"/>
                  </a:cubicBezTo>
                  <a:cubicBezTo>
                    <a:pt x="1484950" y="1170029"/>
                    <a:pt x="1486793" y="1128301"/>
                    <a:pt x="1496266" y="1111250"/>
                  </a:cubicBezTo>
                  <a:cubicBezTo>
                    <a:pt x="1503679" y="1097907"/>
                    <a:pt x="1521666" y="1073150"/>
                    <a:pt x="1521666" y="1073150"/>
                  </a:cubicBezTo>
                  <a:cubicBezTo>
                    <a:pt x="1523783" y="1060450"/>
                    <a:pt x="1525491" y="1047675"/>
                    <a:pt x="1528016" y="1035050"/>
                  </a:cubicBezTo>
                  <a:cubicBezTo>
                    <a:pt x="1531388" y="1018190"/>
                    <a:pt x="1540655" y="1006399"/>
                    <a:pt x="1528016" y="990600"/>
                  </a:cubicBezTo>
                  <a:cubicBezTo>
                    <a:pt x="1523248" y="984641"/>
                    <a:pt x="1515316" y="982133"/>
                    <a:pt x="1508966" y="977900"/>
                  </a:cubicBezTo>
                  <a:cubicBezTo>
                    <a:pt x="1506849" y="965200"/>
                    <a:pt x="1504120" y="952587"/>
                    <a:pt x="1502616" y="939800"/>
                  </a:cubicBezTo>
                  <a:cubicBezTo>
                    <a:pt x="1499884" y="916581"/>
                    <a:pt x="1507350" y="890535"/>
                    <a:pt x="1496266" y="869950"/>
                  </a:cubicBezTo>
                  <a:cubicBezTo>
                    <a:pt x="1489919" y="858163"/>
                    <a:pt x="1458166" y="857250"/>
                    <a:pt x="1458166" y="857250"/>
                  </a:cubicBezTo>
                  <a:cubicBezTo>
                    <a:pt x="1451816" y="850900"/>
                    <a:pt x="1443477" y="846050"/>
                    <a:pt x="1439116" y="838200"/>
                  </a:cubicBezTo>
                  <a:cubicBezTo>
                    <a:pt x="1432615" y="826498"/>
                    <a:pt x="1426416" y="800100"/>
                    <a:pt x="1426416" y="800100"/>
                  </a:cubicBezTo>
                  <a:cubicBezTo>
                    <a:pt x="1428533" y="785283"/>
                    <a:pt x="1428828" y="770090"/>
                    <a:pt x="1432766" y="755650"/>
                  </a:cubicBezTo>
                  <a:cubicBezTo>
                    <a:pt x="1435257" y="746518"/>
                    <a:pt x="1441737" y="738951"/>
                    <a:pt x="1445466" y="730250"/>
                  </a:cubicBezTo>
                  <a:cubicBezTo>
                    <a:pt x="1461240" y="693444"/>
                    <a:pt x="1440110" y="728759"/>
                    <a:pt x="1464516" y="692150"/>
                  </a:cubicBezTo>
                  <a:cubicBezTo>
                    <a:pt x="1454187" y="661162"/>
                    <a:pt x="1451035" y="640569"/>
                    <a:pt x="1426416" y="615950"/>
                  </a:cubicBezTo>
                  <a:cubicBezTo>
                    <a:pt x="1420066" y="609600"/>
                    <a:pt x="1415216" y="601261"/>
                    <a:pt x="1407366" y="596900"/>
                  </a:cubicBezTo>
                  <a:cubicBezTo>
                    <a:pt x="1395664" y="590399"/>
                    <a:pt x="1369266" y="584200"/>
                    <a:pt x="1369266" y="584200"/>
                  </a:cubicBezTo>
                  <a:cubicBezTo>
                    <a:pt x="1355222" y="570156"/>
                    <a:pt x="1346357" y="563781"/>
                    <a:pt x="1337516" y="546100"/>
                  </a:cubicBezTo>
                  <a:cubicBezTo>
                    <a:pt x="1331540" y="534148"/>
                    <a:pt x="1331701" y="516272"/>
                    <a:pt x="1318466" y="508000"/>
                  </a:cubicBezTo>
                  <a:cubicBezTo>
                    <a:pt x="1307114" y="500905"/>
                    <a:pt x="1293066" y="499533"/>
                    <a:pt x="1280366" y="495300"/>
                  </a:cubicBezTo>
                  <a:lnTo>
                    <a:pt x="1261316" y="488950"/>
                  </a:lnTo>
                  <a:cubicBezTo>
                    <a:pt x="1254966" y="484717"/>
                    <a:pt x="1247034" y="482209"/>
                    <a:pt x="1242266" y="476250"/>
                  </a:cubicBezTo>
                  <a:cubicBezTo>
                    <a:pt x="1230120" y="461067"/>
                    <a:pt x="1238252" y="447857"/>
                    <a:pt x="1242266" y="431800"/>
                  </a:cubicBezTo>
                  <a:cubicBezTo>
                    <a:pt x="1236331" y="413996"/>
                    <a:pt x="1220109" y="388058"/>
                    <a:pt x="1235916" y="368300"/>
                  </a:cubicBezTo>
                  <a:cubicBezTo>
                    <a:pt x="1240097" y="363073"/>
                    <a:pt x="1248814" y="364587"/>
                    <a:pt x="1254966" y="361950"/>
                  </a:cubicBezTo>
                  <a:cubicBezTo>
                    <a:pt x="1263667" y="358221"/>
                    <a:pt x="1272249" y="354120"/>
                    <a:pt x="1280366" y="349250"/>
                  </a:cubicBezTo>
                  <a:cubicBezTo>
                    <a:pt x="1293454" y="341397"/>
                    <a:pt x="1318466" y="323850"/>
                    <a:pt x="1318466" y="323850"/>
                  </a:cubicBezTo>
                  <a:cubicBezTo>
                    <a:pt x="1312414" y="281488"/>
                    <a:pt x="1305130" y="254891"/>
                    <a:pt x="1318466" y="209550"/>
                  </a:cubicBezTo>
                  <a:cubicBezTo>
                    <a:pt x="1322773" y="194907"/>
                    <a:pt x="1343866" y="171450"/>
                    <a:pt x="1343866" y="171450"/>
                  </a:cubicBezTo>
                  <a:cubicBezTo>
                    <a:pt x="1341749" y="158750"/>
                    <a:pt x="1347407" y="141592"/>
                    <a:pt x="1337516" y="133350"/>
                  </a:cubicBezTo>
                  <a:cubicBezTo>
                    <a:pt x="1329225" y="126441"/>
                    <a:pt x="1314285" y="133074"/>
                    <a:pt x="1305766" y="139700"/>
                  </a:cubicBezTo>
                  <a:cubicBezTo>
                    <a:pt x="1293718" y="149071"/>
                    <a:pt x="1280366" y="177800"/>
                    <a:pt x="1280366" y="177800"/>
                  </a:cubicBezTo>
                  <a:cubicBezTo>
                    <a:pt x="1280146" y="177745"/>
                    <a:pt x="1238953" y="168137"/>
                    <a:pt x="1235916" y="165100"/>
                  </a:cubicBezTo>
                  <a:cubicBezTo>
                    <a:pt x="1231183" y="160367"/>
                    <a:pt x="1231683" y="152400"/>
                    <a:pt x="1229566" y="146050"/>
                  </a:cubicBezTo>
                  <a:cubicBezTo>
                    <a:pt x="1231683" y="139700"/>
                    <a:pt x="1235916" y="133693"/>
                    <a:pt x="1235916" y="127000"/>
                  </a:cubicBezTo>
                  <a:cubicBezTo>
                    <a:pt x="1235916" y="107833"/>
                    <a:pt x="1237497" y="87299"/>
                    <a:pt x="1229566" y="69850"/>
                  </a:cubicBezTo>
                  <a:cubicBezTo>
                    <a:pt x="1225649" y="61232"/>
                    <a:pt x="1213448" y="59006"/>
                    <a:pt x="1204166" y="57150"/>
                  </a:cubicBezTo>
                  <a:cubicBezTo>
                    <a:pt x="1181241" y="52565"/>
                    <a:pt x="1157599" y="52917"/>
                    <a:pt x="1134316" y="50800"/>
                  </a:cubicBezTo>
                  <a:cubicBezTo>
                    <a:pt x="1127966" y="48683"/>
                    <a:pt x="1120493" y="48631"/>
                    <a:pt x="1115266" y="44450"/>
                  </a:cubicBezTo>
                  <a:cubicBezTo>
                    <a:pt x="1109307" y="39682"/>
                    <a:pt x="1107452" y="31263"/>
                    <a:pt x="1102566" y="25400"/>
                  </a:cubicBezTo>
                  <a:cubicBezTo>
                    <a:pt x="1084271" y="3446"/>
                    <a:pt x="1087945" y="7826"/>
                    <a:pt x="1064466" y="0"/>
                  </a:cubicBezTo>
                  <a:cubicBezTo>
                    <a:pt x="1058116" y="2117"/>
                    <a:pt x="1050985" y="2637"/>
                    <a:pt x="1045416" y="6350"/>
                  </a:cubicBezTo>
                  <a:cubicBezTo>
                    <a:pt x="1037944" y="11331"/>
                    <a:pt x="1033265" y="19651"/>
                    <a:pt x="1026366" y="25400"/>
                  </a:cubicBezTo>
                  <a:cubicBezTo>
                    <a:pt x="1020503" y="30286"/>
                    <a:pt x="1013666" y="33867"/>
                    <a:pt x="1007316" y="38100"/>
                  </a:cubicBezTo>
                  <a:lnTo>
                    <a:pt x="981916" y="76200"/>
                  </a:lnTo>
                  <a:cubicBezTo>
                    <a:pt x="974490" y="87339"/>
                    <a:pt x="973449" y="101600"/>
                    <a:pt x="969216" y="114300"/>
                  </a:cubicBezTo>
                  <a:lnTo>
                    <a:pt x="950166" y="171450"/>
                  </a:lnTo>
                  <a:cubicBezTo>
                    <a:pt x="947753" y="178690"/>
                    <a:pt x="937466" y="179917"/>
                    <a:pt x="931116" y="184150"/>
                  </a:cubicBezTo>
                  <a:cubicBezTo>
                    <a:pt x="926883" y="190500"/>
                    <a:pt x="924375" y="198432"/>
                    <a:pt x="918416" y="203200"/>
                  </a:cubicBezTo>
                  <a:cubicBezTo>
                    <a:pt x="903638" y="215022"/>
                    <a:pt x="889494" y="207637"/>
                    <a:pt x="873966" y="203200"/>
                  </a:cubicBezTo>
                  <a:cubicBezTo>
                    <a:pt x="867530" y="201361"/>
                    <a:pt x="861266" y="198967"/>
                    <a:pt x="854916" y="196850"/>
                  </a:cubicBezTo>
                  <a:cubicBezTo>
                    <a:pt x="848566" y="201083"/>
                    <a:pt x="841262" y="204154"/>
                    <a:pt x="835866" y="209550"/>
                  </a:cubicBezTo>
                  <a:cubicBezTo>
                    <a:pt x="830470" y="214946"/>
                    <a:pt x="830252" y="225766"/>
                    <a:pt x="823166" y="228600"/>
                  </a:cubicBezTo>
                  <a:cubicBezTo>
                    <a:pt x="816951" y="231086"/>
                    <a:pt x="810466" y="224367"/>
                    <a:pt x="804116" y="222250"/>
                  </a:cubicBezTo>
                  <a:cubicBezTo>
                    <a:pt x="772366" y="201083"/>
                    <a:pt x="791416" y="205317"/>
                    <a:pt x="746966" y="234950"/>
                  </a:cubicBezTo>
                  <a:lnTo>
                    <a:pt x="727916" y="247650"/>
                  </a:lnTo>
                  <a:lnTo>
                    <a:pt x="708866" y="260350"/>
                  </a:lnTo>
                  <a:cubicBezTo>
                    <a:pt x="665828" y="246004"/>
                    <a:pt x="718332" y="262243"/>
                    <a:pt x="645366" y="247650"/>
                  </a:cubicBezTo>
                  <a:cubicBezTo>
                    <a:pt x="638802" y="246337"/>
                    <a:pt x="632666" y="243417"/>
                    <a:pt x="626316" y="241300"/>
                  </a:cubicBezTo>
                  <a:cubicBezTo>
                    <a:pt x="621519" y="236503"/>
                    <a:pt x="598039" y="210532"/>
                    <a:pt x="588216" y="209550"/>
                  </a:cubicBezTo>
                  <a:cubicBezTo>
                    <a:pt x="573323" y="208061"/>
                    <a:pt x="558583" y="213783"/>
                    <a:pt x="543766" y="215900"/>
                  </a:cubicBezTo>
                  <a:cubicBezTo>
                    <a:pt x="477820" y="207657"/>
                    <a:pt x="507165" y="219016"/>
                    <a:pt x="454866" y="184150"/>
                  </a:cubicBezTo>
                  <a:lnTo>
                    <a:pt x="454866" y="184150"/>
                  </a:lnTo>
                  <a:lnTo>
                    <a:pt x="416766" y="171450"/>
                  </a:lnTo>
                  <a:cubicBezTo>
                    <a:pt x="387133" y="173567"/>
                    <a:pt x="357123" y="172637"/>
                    <a:pt x="327866" y="177800"/>
                  </a:cubicBezTo>
                  <a:cubicBezTo>
                    <a:pt x="298200" y="183035"/>
                    <a:pt x="315655" y="193063"/>
                    <a:pt x="302466" y="209550"/>
                  </a:cubicBezTo>
                  <a:cubicBezTo>
                    <a:pt x="287561" y="228181"/>
                    <a:pt x="258419" y="225821"/>
                    <a:pt x="238966" y="228600"/>
                  </a:cubicBezTo>
                  <a:cubicBezTo>
                    <a:pt x="234733" y="234950"/>
                    <a:pt x="233860" y="246891"/>
                    <a:pt x="226266" y="247650"/>
                  </a:cubicBezTo>
                  <a:cubicBezTo>
                    <a:pt x="208898" y="249387"/>
                    <a:pt x="175466" y="234950"/>
                    <a:pt x="175466" y="234950"/>
                  </a:cubicBezTo>
                  <a:cubicBezTo>
                    <a:pt x="169116" y="237067"/>
                    <a:pt x="161643" y="237119"/>
                    <a:pt x="156416" y="241300"/>
                  </a:cubicBezTo>
                  <a:cubicBezTo>
                    <a:pt x="150457" y="246068"/>
                    <a:pt x="148602" y="254487"/>
                    <a:pt x="143716" y="260350"/>
                  </a:cubicBezTo>
                  <a:cubicBezTo>
                    <a:pt x="137967" y="267249"/>
                    <a:pt x="131565" y="273651"/>
                    <a:pt x="124666" y="279400"/>
                  </a:cubicBezTo>
                  <a:cubicBezTo>
                    <a:pt x="118803" y="284286"/>
                    <a:pt x="112442" y="288687"/>
                    <a:pt x="105616" y="292100"/>
                  </a:cubicBezTo>
                  <a:cubicBezTo>
                    <a:pt x="89984" y="299916"/>
                    <a:pt x="63099" y="302361"/>
                    <a:pt x="48466" y="304800"/>
                  </a:cubicBezTo>
                  <a:cubicBezTo>
                    <a:pt x="42116" y="306917"/>
                    <a:pt x="35852" y="309311"/>
                    <a:pt x="29416" y="311150"/>
                  </a:cubicBezTo>
                  <a:cubicBezTo>
                    <a:pt x="21025" y="313548"/>
                    <a:pt x="9252" y="310518"/>
                    <a:pt x="4016" y="317500"/>
                  </a:cubicBezTo>
                  <a:cubicBezTo>
                    <a:pt x="0" y="322855"/>
                    <a:pt x="5633" y="331817"/>
                    <a:pt x="10366" y="336550"/>
                  </a:cubicBezTo>
                  <a:cubicBezTo>
                    <a:pt x="17059" y="343243"/>
                    <a:pt x="27547" y="344554"/>
                    <a:pt x="35766" y="349250"/>
                  </a:cubicBezTo>
                  <a:cubicBezTo>
                    <a:pt x="70233" y="368945"/>
                    <a:pt x="38939" y="356658"/>
                    <a:pt x="73866" y="368300"/>
                  </a:cubicBezTo>
                  <a:cubicBezTo>
                    <a:pt x="100207" y="364537"/>
                    <a:pt x="136425" y="355130"/>
                    <a:pt x="162766" y="368300"/>
                  </a:cubicBezTo>
                  <a:cubicBezTo>
                    <a:pt x="168753" y="371293"/>
                    <a:pt x="167277" y="380914"/>
                    <a:pt x="169116" y="387350"/>
                  </a:cubicBezTo>
                  <a:cubicBezTo>
                    <a:pt x="171514" y="395741"/>
                    <a:pt x="170014" y="405935"/>
                    <a:pt x="175466" y="412750"/>
                  </a:cubicBezTo>
                  <a:cubicBezTo>
                    <a:pt x="179647" y="417977"/>
                    <a:pt x="188080" y="417261"/>
                    <a:pt x="194516" y="419100"/>
                  </a:cubicBezTo>
                  <a:cubicBezTo>
                    <a:pt x="202907" y="421498"/>
                    <a:pt x="211449" y="423333"/>
                    <a:pt x="219916" y="425450"/>
                  </a:cubicBezTo>
                  <a:cubicBezTo>
                    <a:pt x="249759" y="455293"/>
                    <a:pt x="233985" y="437028"/>
                    <a:pt x="264366" y="482600"/>
                  </a:cubicBezTo>
                  <a:cubicBezTo>
                    <a:pt x="268079" y="488169"/>
                    <a:pt x="277066" y="486833"/>
                    <a:pt x="283416" y="488950"/>
                  </a:cubicBezTo>
                  <a:cubicBezTo>
                    <a:pt x="304583" y="486833"/>
                    <a:pt x="325891" y="485835"/>
                    <a:pt x="346916" y="482600"/>
                  </a:cubicBezTo>
                  <a:cubicBezTo>
                    <a:pt x="353532" y="481582"/>
                    <a:pt x="359273" y="476250"/>
                    <a:pt x="365966" y="476250"/>
                  </a:cubicBezTo>
                  <a:cubicBezTo>
                    <a:pt x="372659" y="476250"/>
                    <a:pt x="378666" y="480483"/>
                    <a:pt x="385016" y="482600"/>
                  </a:cubicBezTo>
                  <a:cubicBezTo>
                    <a:pt x="387133" y="491067"/>
                    <a:pt x="383560" y="504097"/>
                    <a:pt x="391366" y="508000"/>
                  </a:cubicBezTo>
                  <a:cubicBezTo>
                    <a:pt x="398192" y="511413"/>
                    <a:pt x="403590" y="498713"/>
                    <a:pt x="410416" y="495300"/>
                  </a:cubicBezTo>
                  <a:cubicBezTo>
                    <a:pt x="416403" y="492307"/>
                    <a:pt x="423116" y="491067"/>
                    <a:pt x="429466" y="488950"/>
                  </a:cubicBezTo>
                  <a:cubicBezTo>
                    <a:pt x="431583" y="495300"/>
                    <a:pt x="435816" y="501307"/>
                    <a:pt x="435816" y="508000"/>
                  </a:cubicBezTo>
                  <a:cubicBezTo>
                    <a:pt x="435816" y="520875"/>
                    <a:pt x="431769" y="533432"/>
                    <a:pt x="429466" y="546100"/>
                  </a:cubicBezTo>
                  <a:cubicBezTo>
                    <a:pt x="423336" y="579816"/>
                    <a:pt x="425579" y="570462"/>
                    <a:pt x="416766" y="596900"/>
                  </a:cubicBezTo>
                  <a:cubicBezTo>
                    <a:pt x="418883" y="603250"/>
                    <a:pt x="418935" y="610723"/>
                    <a:pt x="423116" y="615950"/>
                  </a:cubicBezTo>
                  <a:cubicBezTo>
                    <a:pt x="427884" y="621909"/>
                    <a:pt x="439332" y="621564"/>
                    <a:pt x="442166" y="628650"/>
                  </a:cubicBezTo>
                  <a:cubicBezTo>
                    <a:pt x="445823" y="637791"/>
                    <a:pt x="425368" y="661683"/>
                    <a:pt x="423116" y="666750"/>
                  </a:cubicBezTo>
                  <a:cubicBezTo>
                    <a:pt x="417679" y="678983"/>
                    <a:pt x="414649" y="692150"/>
                    <a:pt x="410416" y="704850"/>
                  </a:cubicBezTo>
                  <a:lnTo>
                    <a:pt x="404066" y="723900"/>
                  </a:lnTo>
                  <a:cubicBezTo>
                    <a:pt x="406183" y="732367"/>
                    <a:pt x="403314" y="744227"/>
                    <a:pt x="410416" y="749300"/>
                  </a:cubicBezTo>
                  <a:cubicBezTo>
                    <a:pt x="420893" y="756784"/>
                    <a:pt x="436302" y="751579"/>
                    <a:pt x="448516" y="755650"/>
                  </a:cubicBezTo>
                  <a:cubicBezTo>
                    <a:pt x="455756" y="758063"/>
                    <a:pt x="461216" y="764117"/>
                    <a:pt x="467566" y="768350"/>
                  </a:cubicBezTo>
                  <a:cubicBezTo>
                    <a:pt x="476379" y="794788"/>
                    <a:pt x="476761" y="785434"/>
                    <a:pt x="467566" y="819150"/>
                  </a:cubicBezTo>
                  <a:cubicBezTo>
                    <a:pt x="464044" y="832065"/>
                    <a:pt x="454866" y="857250"/>
                    <a:pt x="454866" y="857250"/>
                  </a:cubicBezTo>
                  <a:cubicBezTo>
                    <a:pt x="452749" y="891117"/>
                    <a:pt x="448516" y="924917"/>
                    <a:pt x="448516" y="958850"/>
                  </a:cubicBezTo>
                  <a:cubicBezTo>
                    <a:pt x="448516" y="976801"/>
                    <a:pt x="462586" y="1013759"/>
                    <a:pt x="467566" y="1028700"/>
                  </a:cubicBezTo>
                  <a:cubicBezTo>
                    <a:pt x="469979" y="1035940"/>
                    <a:pt x="476853" y="1040924"/>
                    <a:pt x="480266" y="1047750"/>
                  </a:cubicBezTo>
                  <a:cubicBezTo>
                    <a:pt x="492022" y="1071262"/>
                    <a:pt x="479344" y="1070265"/>
                    <a:pt x="505666" y="1092200"/>
                  </a:cubicBezTo>
                  <a:cubicBezTo>
                    <a:pt x="510808" y="1096485"/>
                    <a:pt x="518280" y="1096711"/>
                    <a:pt x="524716" y="1098550"/>
                  </a:cubicBezTo>
                  <a:cubicBezTo>
                    <a:pt x="551240" y="1106128"/>
                    <a:pt x="558277" y="1106260"/>
                    <a:pt x="588216" y="1111250"/>
                  </a:cubicBezTo>
                  <a:cubicBezTo>
                    <a:pt x="594566" y="1113367"/>
                    <a:pt x="600573" y="1117600"/>
                    <a:pt x="607266" y="1117600"/>
                  </a:cubicBezTo>
                  <a:cubicBezTo>
                    <a:pt x="641133" y="1117600"/>
                    <a:pt x="615733" y="1109133"/>
                    <a:pt x="632666" y="1092200"/>
                  </a:cubicBezTo>
                  <a:cubicBezTo>
                    <a:pt x="637399" y="1087467"/>
                    <a:pt x="645366" y="1087967"/>
                    <a:pt x="651716" y="1085850"/>
                  </a:cubicBezTo>
                  <a:cubicBezTo>
                    <a:pt x="658066" y="1090083"/>
                    <a:pt x="665998" y="1092591"/>
                    <a:pt x="670766" y="1098550"/>
                  </a:cubicBezTo>
                  <a:cubicBezTo>
                    <a:pt x="712083" y="1150196"/>
                    <a:pt x="636286" y="1083120"/>
                    <a:pt x="689816" y="1136650"/>
                  </a:cubicBezTo>
                  <a:cubicBezTo>
                    <a:pt x="695212" y="1142046"/>
                    <a:pt x="702040" y="1145937"/>
                    <a:pt x="708866" y="1149350"/>
                  </a:cubicBezTo>
                  <a:cubicBezTo>
                    <a:pt x="731751" y="1160792"/>
                    <a:pt x="773204" y="1160229"/>
                    <a:pt x="791416" y="1162050"/>
                  </a:cubicBezTo>
                  <a:cubicBezTo>
                    <a:pt x="795649" y="1168400"/>
                    <a:pt x="798720" y="1175704"/>
                    <a:pt x="804116" y="1181100"/>
                  </a:cubicBezTo>
                  <a:cubicBezTo>
                    <a:pt x="809512" y="1186496"/>
                    <a:pt x="817303" y="1188914"/>
                    <a:pt x="823166" y="1193800"/>
                  </a:cubicBezTo>
                  <a:cubicBezTo>
                    <a:pt x="830065" y="1199549"/>
                    <a:pt x="835866" y="1206500"/>
                    <a:pt x="842216" y="1212850"/>
                  </a:cubicBezTo>
                  <a:cubicBezTo>
                    <a:pt x="844333" y="1229783"/>
                    <a:pt x="845513" y="1246860"/>
                    <a:pt x="848566" y="1263650"/>
                  </a:cubicBezTo>
                  <a:cubicBezTo>
                    <a:pt x="849763" y="1270236"/>
                    <a:pt x="854916" y="1276007"/>
                    <a:pt x="854916" y="1282700"/>
                  </a:cubicBezTo>
                  <a:cubicBezTo>
                    <a:pt x="854916" y="1346516"/>
                    <a:pt x="848656" y="1276140"/>
                    <a:pt x="829516" y="1320800"/>
                  </a:cubicBezTo>
                  <a:cubicBezTo>
                    <a:pt x="825347" y="1330528"/>
                    <a:pt x="813641" y="1332442"/>
                    <a:pt x="816816" y="1339850"/>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39" name="Freeform 38"/>
            <p:cNvSpPr/>
            <p:nvPr>
              <p:custDataLst>
                <p:tags r:id="rId27"/>
              </p:custDataLst>
            </p:nvPr>
          </p:nvSpPr>
          <p:spPr bwMode="gray">
            <a:xfrm>
              <a:off x="5751699" y="2609182"/>
              <a:ext cx="285750" cy="222918"/>
            </a:xfrm>
            <a:custGeom>
              <a:avLst/>
              <a:gdLst>
                <a:gd name="connsiteX0" fmla="*/ 57150 w 285750"/>
                <a:gd name="connsiteY0" fmla="*/ 26068 h 222918"/>
                <a:gd name="connsiteX1" fmla="*/ 44450 w 285750"/>
                <a:gd name="connsiteY1" fmla="*/ 45118 h 222918"/>
                <a:gd name="connsiteX2" fmla="*/ 25400 w 285750"/>
                <a:gd name="connsiteY2" fmla="*/ 57818 h 222918"/>
                <a:gd name="connsiteX3" fmla="*/ 19050 w 285750"/>
                <a:gd name="connsiteY3" fmla="*/ 76868 h 222918"/>
                <a:gd name="connsiteX4" fmla="*/ 12700 w 285750"/>
                <a:gd name="connsiteY4" fmla="*/ 146718 h 222918"/>
                <a:gd name="connsiteX5" fmla="*/ 0 w 285750"/>
                <a:gd name="connsiteY5" fmla="*/ 184818 h 222918"/>
                <a:gd name="connsiteX6" fmla="*/ 25400 w 285750"/>
                <a:gd name="connsiteY6" fmla="*/ 210218 h 222918"/>
                <a:gd name="connsiteX7" fmla="*/ 44450 w 285750"/>
                <a:gd name="connsiteY7" fmla="*/ 197518 h 222918"/>
                <a:gd name="connsiteX8" fmla="*/ 82550 w 285750"/>
                <a:gd name="connsiteY8" fmla="*/ 184818 h 222918"/>
                <a:gd name="connsiteX9" fmla="*/ 101600 w 285750"/>
                <a:gd name="connsiteY9" fmla="*/ 203868 h 222918"/>
                <a:gd name="connsiteX10" fmla="*/ 139700 w 285750"/>
                <a:gd name="connsiteY10" fmla="*/ 216568 h 222918"/>
                <a:gd name="connsiteX11" fmla="*/ 190500 w 285750"/>
                <a:gd name="connsiteY11" fmla="*/ 210218 h 222918"/>
                <a:gd name="connsiteX12" fmla="*/ 228600 w 285750"/>
                <a:gd name="connsiteY12" fmla="*/ 222918 h 222918"/>
                <a:gd name="connsiteX13" fmla="*/ 266700 w 285750"/>
                <a:gd name="connsiteY13" fmla="*/ 216568 h 222918"/>
                <a:gd name="connsiteX14" fmla="*/ 285750 w 285750"/>
                <a:gd name="connsiteY14" fmla="*/ 178468 h 222918"/>
                <a:gd name="connsiteX15" fmla="*/ 247650 w 285750"/>
                <a:gd name="connsiteY15" fmla="*/ 140368 h 222918"/>
                <a:gd name="connsiteX16" fmla="*/ 228600 w 285750"/>
                <a:gd name="connsiteY16" fmla="*/ 121318 h 222918"/>
                <a:gd name="connsiteX17" fmla="*/ 209550 w 285750"/>
                <a:gd name="connsiteY17" fmla="*/ 83218 h 222918"/>
                <a:gd name="connsiteX18" fmla="*/ 190500 w 285750"/>
                <a:gd name="connsiteY18" fmla="*/ 45118 h 222918"/>
                <a:gd name="connsiteX19" fmla="*/ 171450 w 285750"/>
                <a:gd name="connsiteY19" fmla="*/ 38768 h 222918"/>
                <a:gd name="connsiteX20" fmla="*/ 165100 w 285750"/>
                <a:gd name="connsiteY20" fmla="*/ 13368 h 222918"/>
                <a:gd name="connsiteX21" fmla="*/ 127000 w 285750"/>
                <a:gd name="connsiteY21" fmla="*/ 13368 h 222918"/>
                <a:gd name="connsiteX22" fmla="*/ 95250 w 285750"/>
                <a:gd name="connsiteY22" fmla="*/ 45118 h 222918"/>
                <a:gd name="connsiteX23" fmla="*/ 69850 w 285750"/>
                <a:gd name="connsiteY23" fmla="*/ 38768 h 222918"/>
                <a:gd name="connsiteX24" fmla="*/ 57150 w 285750"/>
                <a:gd name="connsiteY24" fmla="*/ 26068 h 2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222918">
                  <a:moveTo>
                    <a:pt x="57150" y="26068"/>
                  </a:moveTo>
                  <a:cubicBezTo>
                    <a:pt x="52917" y="27126"/>
                    <a:pt x="49846" y="39722"/>
                    <a:pt x="44450" y="45118"/>
                  </a:cubicBezTo>
                  <a:cubicBezTo>
                    <a:pt x="39054" y="50514"/>
                    <a:pt x="30168" y="51859"/>
                    <a:pt x="25400" y="57818"/>
                  </a:cubicBezTo>
                  <a:cubicBezTo>
                    <a:pt x="21219" y="63045"/>
                    <a:pt x="21167" y="70518"/>
                    <a:pt x="19050" y="76868"/>
                  </a:cubicBezTo>
                  <a:cubicBezTo>
                    <a:pt x="16933" y="100151"/>
                    <a:pt x="16763" y="123694"/>
                    <a:pt x="12700" y="146718"/>
                  </a:cubicBezTo>
                  <a:cubicBezTo>
                    <a:pt x="10374" y="159901"/>
                    <a:pt x="0" y="184818"/>
                    <a:pt x="0" y="184818"/>
                  </a:cubicBezTo>
                  <a:cubicBezTo>
                    <a:pt x="4456" y="198186"/>
                    <a:pt x="4011" y="213783"/>
                    <a:pt x="25400" y="210218"/>
                  </a:cubicBezTo>
                  <a:cubicBezTo>
                    <a:pt x="32928" y="208963"/>
                    <a:pt x="37476" y="200618"/>
                    <a:pt x="44450" y="197518"/>
                  </a:cubicBezTo>
                  <a:cubicBezTo>
                    <a:pt x="56683" y="192081"/>
                    <a:pt x="82550" y="184818"/>
                    <a:pt x="82550" y="184818"/>
                  </a:cubicBezTo>
                  <a:cubicBezTo>
                    <a:pt x="88900" y="191168"/>
                    <a:pt x="93750" y="199507"/>
                    <a:pt x="101600" y="203868"/>
                  </a:cubicBezTo>
                  <a:cubicBezTo>
                    <a:pt x="113302" y="210369"/>
                    <a:pt x="139700" y="216568"/>
                    <a:pt x="139700" y="216568"/>
                  </a:cubicBezTo>
                  <a:cubicBezTo>
                    <a:pt x="165582" y="199313"/>
                    <a:pt x="154304" y="200346"/>
                    <a:pt x="190500" y="210218"/>
                  </a:cubicBezTo>
                  <a:cubicBezTo>
                    <a:pt x="203415" y="213740"/>
                    <a:pt x="228600" y="222918"/>
                    <a:pt x="228600" y="222918"/>
                  </a:cubicBezTo>
                  <a:cubicBezTo>
                    <a:pt x="241300" y="220801"/>
                    <a:pt x="255184" y="222326"/>
                    <a:pt x="266700" y="216568"/>
                  </a:cubicBezTo>
                  <a:cubicBezTo>
                    <a:pt x="276548" y="211644"/>
                    <a:pt x="282745" y="187484"/>
                    <a:pt x="285750" y="178468"/>
                  </a:cubicBezTo>
                  <a:lnTo>
                    <a:pt x="247650" y="140368"/>
                  </a:lnTo>
                  <a:lnTo>
                    <a:pt x="228600" y="121318"/>
                  </a:lnTo>
                  <a:cubicBezTo>
                    <a:pt x="212639" y="73435"/>
                    <a:pt x="234169" y="132457"/>
                    <a:pt x="209550" y="83218"/>
                  </a:cubicBezTo>
                  <a:cubicBezTo>
                    <a:pt x="201881" y="67880"/>
                    <a:pt x="205665" y="57250"/>
                    <a:pt x="190500" y="45118"/>
                  </a:cubicBezTo>
                  <a:cubicBezTo>
                    <a:pt x="185273" y="40937"/>
                    <a:pt x="177800" y="40885"/>
                    <a:pt x="171450" y="38768"/>
                  </a:cubicBezTo>
                  <a:cubicBezTo>
                    <a:pt x="169333" y="30301"/>
                    <a:pt x="170552" y="20183"/>
                    <a:pt x="165100" y="13368"/>
                  </a:cubicBezTo>
                  <a:cubicBezTo>
                    <a:pt x="154405" y="0"/>
                    <a:pt x="137695" y="9803"/>
                    <a:pt x="127000" y="13368"/>
                  </a:cubicBezTo>
                  <a:cubicBezTo>
                    <a:pt x="119870" y="24063"/>
                    <a:pt x="110846" y="42890"/>
                    <a:pt x="95250" y="45118"/>
                  </a:cubicBezTo>
                  <a:cubicBezTo>
                    <a:pt x="86610" y="46352"/>
                    <a:pt x="78317" y="40885"/>
                    <a:pt x="69850" y="38768"/>
                  </a:cubicBezTo>
                  <a:cubicBezTo>
                    <a:pt x="55976" y="17957"/>
                    <a:pt x="61383" y="25010"/>
                    <a:pt x="57150" y="26068"/>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40" name="Freeform 39"/>
            <p:cNvSpPr/>
            <p:nvPr/>
          </p:nvSpPr>
          <p:spPr bwMode="gray">
            <a:xfrm>
              <a:off x="5256399" y="3333750"/>
              <a:ext cx="1377950" cy="1035050"/>
            </a:xfrm>
            <a:custGeom>
              <a:avLst/>
              <a:gdLst>
                <a:gd name="connsiteX0" fmla="*/ 63500 w 1377950"/>
                <a:gd name="connsiteY0" fmla="*/ 914400 h 1035050"/>
                <a:gd name="connsiteX1" fmla="*/ 114300 w 1377950"/>
                <a:gd name="connsiteY1" fmla="*/ 939800 h 1035050"/>
                <a:gd name="connsiteX2" fmla="*/ 133350 w 1377950"/>
                <a:gd name="connsiteY2" fmla="*/ 933450 h 1035050"/>
                <a:gd name="connsiteX3" fmla="*/ 171450 w 1377950"/>
                <a:gd name="connsiteY3" fmla="*/ 958850 h 1035050"/>
                <a:gd name="connsiteX4" fmla="*/ 177800 w 1377950"/>
                <a:gd name="connsiteY4" fmla="*/ 990600 h 1035050"/>
                <a:gd name="connsiteX5" fmla="*/ 190500 w 1377950"/>
                <a:gd name="connsiteY5" fmla="*/ 1035050 h 1035050"/>
                <a:gd name="connsiteX6" fmla="*/ 209550 w 1377950"/>
                <a:gd name="connsiteY6" fmla="*/ 1028700 h 1035050"/>
                <a:gd name="connsiteX7" fmla="*/ 228600 w 1377950"/>
                <a:gd name="connsiteY7" fmla="*/ 990600 h 1035050"/>
                <a:gd name="connsiteX8" fmla="*/ 222250 w 1377950"/>
                <a:gd name="connsiteY8" fmla="*/ 965200 h 1035050"/>
                <a:gd name="connsiteX9" fmla="*/ 254000 w 1377950"/>
                <a:gd name="connsiteY9" fmla="*/ 895350 h 1035050"/>
                <a:gd name="connsiteX10" fmla="*/ 273050 w 1377950"/>
                <a:gd name="connsiteY10" fmla="*/ 889000 h 1035050"/>
                <a:gd name="connsiteX11" fmla="*/ 292100 w 1377950"/>
                <a:gd name="connsiteY11" fmla="*/ 876300 h 1035050"/>
                <a:gd name="connsiteX12" fmla="*/ 336550 w 1377950"/>
                <a:gd name="connsiteY12" fmla="*/ 863600 h 1035050"/>
                <a:gd name="connsiteX13" fmla="*/ 374650 w 1377950"/>
                <a:gd name="connsiteY13" fmla="*/ 850900 h 1035050"/>
                <a:gd name="connsiteX14" fmla="*/ 412750 w 1377950"/>
                <a:gd name="connsiteY14" fmla="*/ 825500 h 1035050"/>
                <a:gd name="connsiteX15" fmla="*/ 431800 w 1377950"/>
                <a:gd name="connsiteY15" fmla="*/ 831850 h 1035050"/>
                <a:gd name="connsiteX16" fmla="*/ 469900 w 1377950"/>
                <a:gd name="connsiteY16" fmla="*/ 863600 h 1035050"/>
                <a:gd name="connsiteX17" fmla="*/ 495300 w 1377950"/>
                <a:gd name="connsiteY17" fmla="*/ 844550 h 1035050"/>
                <a:gd name="connsiteX18" fmla="*/ 514350 w 1377950"/>
                <a:gd name="connsiteY18" fmla="*/ 831850 h 1035050"/>
                <a:gd name="connsiteX19" fmla="*/ 520700 w 1377950"/>
                <a:gd name="connsiteY19" fmla="*/ 812800 h 1035050"/>
                <a:gd name="connsiteX20" fmla="*/ 584200 w 1377950"/>
                <a:gd name="connsiteY20" fmla="*/ 787400 h 1035050"/>
                <a:gd name="connsiteX21" fmla="*/ 603250 w 1377950"/>
                <a:gd name="connsiteY21" fmla="*/ 749300 h 1035050"/>
                <a:gd name="connsiteX22" fmla="*/ 622300 w 1377950"/>
                <a:gd name="connsiteY22" fmla="*/ 730250 h 1035050"/>
                <a:gd name="connsiteX23" fmla="*/ 647700 w 1377950"/>
                <a:gd name="connsiteY23" fmla="*/ 692150 h 1035050"/>
                <a:gd name="connsiteX24" fmla="*/ 679450 w 1377950"/>
                <a:gd name="connsiteY24" fmla="*/ 698500 h 1035050"/>
                <a:gd name="connsiteX25" fmla="*/ 698500 w 1377950"/>
                <a:gd name="connsiteY25" fmla="*/ 704850 h 1035050"/>
                <a:gd name="connsiteX26" fmla="*/ 717550 w 1377950"/>
                <a:gd name="connsiteY26" fmla="*/ 692150 h 1035050"/>
                <a:gd name="connsiteX27" fmla="*/ 742950 w 1377950"/>
                <a:gd name="connsiteY27" fmla="*/ 654050 h 1035050"/>
                <a:gd name="connsiteX28" fmla="*/ 749300 w 1377950"/>
                <a:gd name="connsiteY28" fmla="*/ 635000 h 1035050"/>
                <a:gd name="connsiteX29" fmla="*/ 787400 w 1377950"/>
                <a:gd name="connsiteY29" fmla="*/ 615950 h 1035050"/>
                <a:gd name="connsiteX30" fmla="*/ 869950 w 1377950"/>
                <a:gd name="connsiteY30" fmla="*/ 615950 h 1035050"/>
                <a:gd name="connsiteX31" fmla="*/ 889000 w 1377950"/>
                <a:gd name="connsiteY31" fmla="*/ 603250 h 1035050"/>
                <a:gd name="connsiteX32" fmla="*/ 895350 w 1377950"/>
                <a:gd name="connsiteY32" fmla="*/ 571500 h 1035050"/>
                <a:gd name="connsiteX33" fmla="*/ 920750 w 1377950"/>
                <a:gd name="connsiteY33" fmla="*/ 565150 h 1035050"/>
                <a:gd name="connsiteX34" fmla="*/ 965200 w 1377950"/>
                <a:gd name="connsiteY34" fmla="*/ 546100 h 1035050"/>
                <a:gd name="connsiteX35" fmla="*/ 1028700 w 1377950"/>
                <a:gd name="connsiteY35" fmla="*/ 533400 h 1035050"/>
                <a:gd name="connsiteX36" fmla="*/ 1066800 w 1377950"/>
                <a:gd name="connsiteY36" fmla="*/ 520700 h 1035050"/>
                <a:gd name="connsiteX37" fmla="*/ 1085850 w 1377950"/>
                <a:gd name="connsiteY37" fmla="*/ 508000 h 1035050"/>
                <a:gd name="connsiteX38" fmla="*/ 1092200 w 1377950"/>
                <a:gd name="connsiteY38" fmla="*/ 469900 h 1035050"/>
                <a:gd name="connsiteX39" fmla="*/ 1073150 w 1377950"/>
                <a:gd name="connsiteY39" fmla="*/ 457200 h 1035050"/>
                <a:gd name="connsiteX40" fmla="*/ 1054100 w 1377950"/>
                <a:gd name="connsiteY40" fmla="*/ 438150 h 1035050"/>
                <a:gd name="connsiteX41" fmla="*/ 1047750 w 1377950"/>
                <a:gd name="connsiteY41" fmla="*/ 381000 h 1035050"/>
                <a:gd name="connsiteX42" fmla="*/ 1085850 w 1377950"/>
                <a:gd name="connsiteY42" fmla="*/ 387350 h 1035050"/>
                <a:gd name="connsiteX43" fmla="*/ 1104900 w 1377950"/>
                <a:gd name="connsiteY43" fmla="*/ 406400 h 1035050"/>
                <a:gd name="connsiteX44" fmla="*/ 1123950 w 1377950"/>
                <a:gd name="connsiteY44" fmla="*/ 412750 h 1035050"/>
                <a:gd name="connsiteX45" fmla="*/ 1174750 w 1377950"/>
                <a:gd name="connsiteY45" fmla="*/ 406400 h 1035050"/>
                <a:gd name="connsiteX46" fmla="*/ 1187450 w 1377950"/>
                <a:gd name="connsiteY46" fmla="*/ 444500 h 1035050"/>
                <a:gd name="connsiteX47" fmla="*/ 1193800 w 1377950"/>
                <a:gd name="connsiteY47" fmla="*/ 463550 h 1035050"/>
                <a:gd name="connsiteX48" fmla="*/ 1200150 w 1377950"/>
                <a:gd name="connsiteY48" fmla="*/ 488950 h 1035050"/>
                <a:gd name="connsiteX49" fmla="*/ 1257300 w 1377950"/>
                <a:gd name="connsiteY49" fmla="*/ 533400 h 1035050"/>
                <a:gd name="connsiteX50" fmla="*/ 1289050 w 1377950"/>
                <a:gd name="connsiteY50" fmla="*/ 527050 h 1035050"/>
                <a:gd name="connsiteX51" fmla="*/ 1308100 w 1377950"/>
                <a:gd name="connsiteY51" fmla="*/ 520700 h 1035050"/>
                <a:gd name="connsiteX52" fmla="*/ 1314450 w 1377950"/>
                <a:gd name="connsiteY52" fmla="*/ 501650 h 1035050"/>
                <a:gd name="connsiteX53" fmla="*/ 1320800 w 1377950"/>
                <a:gd name="connsiteY53" fmla="*/ 419100 h 1035050"/>
                <a:gd name="connsiteX54" fmla="*/ 1333500 w 1377950"/>
                <a:gd name="connsiteY54" fmla="*/ 381000 h 1035050"/>
                <a:gd name="connsiteX55" fmla="*/ 1352550 w 1377950"/>
                <a:gd name="connsiteY55" fmla="*/ 342900 h 1035050"/>
                <a:gd name="connsiteX56" fmla="*/ 1365250 w 1377950"/>
                <a:gd name="connsiteY56" fmla="*/ 266700 h 1035050"/>
                <a:gd name="connsiteX57" fmla="*/ 1377950 w 1377950"/>
                <a:gd name="connsiteY57" fmla="*/ 222250 h 1035050"/>
                <a:gd name="connsiteX58" fmla="*/ 1358900 w 1377950"/>
                <a:gd name="connsiteY58" fmla="*/ 171450 h 1035050"/>
                <a:gd name="connsiteX59" fmla="*/ 1339850 w 1377950"/>
                <a:gd name="connsiteY59" fmla="*/ 158750 h 1035050"/>
                <a:gd name="connsiteX60" fmla="*/ 1327150 w 1377950"/>
                <a:gd name="connsiteY60" fmla="*/ 101600 h 1035050"/>
                <a:gd name="connsiteX61" fmla="*/ 1320800 w 1377950"/>
                <a:gd name="connsiteY61" fmla="*/ 82550 h 1035050"/>
                <a:gd name="connsiteX62" fmla="*/ 1282700 w 1377950"/>
                <a:gd name="connsiteY62" fmla="*/ 69850 h 1035050"/>
                <a:gd name="connsiteX63" fmla="*/ 1263650 w 1377950"/>
                <a:gd name="connsiteY63" fmla="*/ 63500 h 1035050"/>
                <a:gd name="connsiteX64" fmla="*/ 1244600 w 1377950"/>
                <a:gd name="connsiteY64" fmla="*/ 57150 h 1035050"/>
                <a:gd name="connsiteX65" fmla="*/ 1225550 w 1377950"/>
                <a:gd name="connsiteY65" fmla="*/ 44450 h 1035050"/>
                <a:gd name="connsiteX66" fmla="*/ 1206500 w 1377950"/>
                <a:gd name="connsiteY66" fmla="*/ 25400 h 1035050"/>
                <a:gd name="connsiteX67" fmla="*/ 1123950 w 1377950"/>
                <a:gd name="connsiteY67" fmla="*/ 19050 h 1035050"/>
                <a:gd name="connsiteX68" fmla="*/ 1085850 w 1377950"/>
                <a:gd name="connsiteY68" fmla="*/ 25400 h 1035050"/>
                <a:gd name="connsiteX69" fmla="*/ 1066800 w 1377950"/>
                <a:gd name="connsiteY69" fmla="*/ 44450 h 1035050"/>
                <a:gd name="connsiteX70" fmla="*/ 1047750 w 1377950"/>
                <a:gd name="connsiteY70" fmla="*/ 50800 h 1035050"/>
                <a:gd name="connsiteX71" fmla="*/ 1009650 w 1377950"/>
                <a:gd name="connsiteY71" fmla="*/ 44450 h 1035050"/>
                <a:gd name="connsiteX72" fmla="*/ 990600 w 1377950"/>
                <a:gd name="connsiteY72" fmla="*/ 31750 h 1035050"/>
                <a:gd name="connsiteX73" fmla="*/ 958850 w 1377950"/>
                <a:gd name="connsiteY73" fmla="*/ 38100 h 1035050"/>
                <a:gd name="connsiteX74" fmla="*/ 939800 w 1377950"/>
                <a:gd name="connsiteY74" fmla="*/ 50800 h 1035050"/>
                <a:gd name="connsiteX75" fmla="*/ 933450 w 1377950"/>
                <a:gd name="connsiteY75" fmla="*/ 69850 h 1035050"/>
                <a:gd name="connsiteX76" fmla="*/ 914400 w 1377950"/>
                <a:gd name="connsiteY76" fmla="*/ 107950 h 1035050"/>
                <a:gd name="connsiteX77" fmla="*/ 889000 w 1377950"/>
                <a:gd name="connsiteY77" fmla="*/ 146050 h 1035050"/>
                <a:gd name="connsiteX78" fmla="*/ 774700 w 1377950"/>
                <a:gd name="connsiteY78" fmla="*/ 152400 h 1035050"/>
                <a:gd name="connsiteX79" fmla="*/ 685800 w 1377950"/>
                <a:gd name="connsiteY79" fmla="*/ 158750 h 1035050"/>
                <a:gd name="connsiteX80" fmla="*/ 654050 w 1377950"/>
                <a:gd name="connsiteY80" fmla="*/ 133350 h 1035050"/>
                <a:gd name="connsiteX81" fmla="*/ 615950 w 1377950"/>
                <a:gd name="connsiteY81" fmla="*/ 146050 h 1035050"/>
                <a:gd name="connsiteX82" fmla="*/ 571500 w 1377950"/>
                <a:gd name="connsiteY82" fmla="*/ 165100 h 1035050"/>
                <a:gd name="connsiteX83" fmla="*/ 552450 w 1377950"/>
                <a:gd name="connsiteY83" fmla="*/ 152400 h 1035050"/>
                <a:gd name="connsiteX84" fmla="*/ 552450 w 1377950"/>
                <a:gd name="connsiteY84" fmla="*/ 95250 h 1035050"/>
                <a:gd name="connsiteX85" fmla="*/ 546100 w 1377950"/>
                <a:gd name="connsiteY85" fmla="*/ 50800 h 1035050"/>
                <a:gd name="connsiteX86" fmla="*/ 533400 w 1377950"/>
                <a:gd name="connsiteY86" fmla="*/ 31750 h 1035050"/>
                <a:gd name="connsiteX87" fmla="*/ 495300 w 1377950"/>
                <a:gd name="connsiteY87" fmla="*/ 19050 h 1035050"/>
                <a:gd name="connsiteX88" fmla="*/ 476250 w 1377950"/>
                <a:gd name="connsiteY88" fmla="*/ 6350 h 1035050"/>
                <a:gd name="connsiteX89" fmla="*/ 457200 w 1377950"/>
                <a:gd name="connsiteY89" fmla="*/ 12700 h 1035050"/>
                <a:gd name="connsiteX90" fmla="*/ 393700 w 1377950"/>
                <a:gd name="connsiteY90" fmla="*/ 19050 h 1035050"/>
                <a:gd name="connsiteX91" fmla="*/ 355600 w 1377950"/>
                <a:gd name="connsiteY91" fmla="*/ 6350 h 1035050"/>
                <a:gd name="connsiteX92" fmla="*/ 336550 w 1377950"/>
                <a:gd name="connsiteY92" fmla="*/ 0 h 1035050"/>
                <a:gd name="connsiteX93" fmla="*/ 298450 w 1377950"/>
                <a:gd name="connsiteY93" fmla="*/ 12700 h 1035050"/>
                <a:gd name="connsiteX94" fmla="*/ 285750 w 1377950"/>
                <a:gd name="connsiteY94" fmla="*/ 31750 h 1035050"/>
                <a:gd name="connsiteX95" fmla="*/ 215900 w 1377950"/>
                <a:gd name="connsiteY95" fmla="*/ 50800 h 1035050"/>
                <a:gd name="connsiteX96" fmla="*/ 196850 w 1377950"/>
                <a:gd name="connsiteY96" fmla="*/ 57150 h 1035050"/>
                <a:gd name="connsiteX97" fmla="*/ 146050 w 1377950"/>
                <a:gd name="connsiteY97" fmla="*/ 69850 h 1035050"/>
                <a:gd name="connsiteX98" fmla="*/ 101600 w 1377950"/>
                <a:gd name="connsiteY98" fmla="*/ 114300 h 1035050"/>
                <a:gd name="connsiteX99" fmla="*/ 101600 w 1377950"/>
                <a:gd name="connsiteY99" fmla="*/ 241300 h 1035050"/>
                <a:gd name="connsiteX100" fmla="*/ 114300 w 1377950"/>
                <a:gd name="connsiteY100" fmla="*/ 279400 h 1035050"/>
                <a:gd name="connsiteX101" fmla="*/ 127000 w 1377950"/>
                <a:gd name="connsiteY101" fmla="*/ 330200 h 1035050"/>
                <a:gd name="connsiteX102" fmla="*/ 133350 w 1377950"/>
                <a:gd name="connsiteY102" fmla="*/ 387350 h 1035050"/>
                <a:gd name="connsiteX103" fmla="*/ 152400 w 1377950"/>
                <a:gd name="connsiteY103" fmla="*/ 400050 h 1035050"/>
                <a:gd name="connsiteX104" fmla="*/ 234950 w 1377950"/>
                <a:gd name="connsiteY104" fmla="*/ 412750 h 1035050"/>
                <a:gd name="connsiteX105" fmla="*/ 273050 w 1377950"/>
                <a:gd name="connsiteY105" fmla="*/ 431800 h 1035050"/>
                <a:gd name="connsiteX106" fmla="*/ 285750 w 1377950"/>
                <a:gd name="connsiteY106" fmla="*/ 450850 h 1035050"/>
                <a:gd name="connsiteX107" fmla="*/ 292100 w 1377950"/>
                <a:gd name="connsiteY107" fmla="*/ 469900 h 1035050"/>
                <a:gd name="connsiteX108" fmla="*/ 311150 w 1377950"/>
                <a:gd name="connsiteY108" fmla="*/ 476250 h 1035050"/>
                <a:gd name="connsiteX109" fmla="*/ 323850 w 1377950"/>
                <a:gd name="connsiteY109" fmla="*/ 514350 h 1035050"/>
                <a:gd name="connsiteX110" fmla="*/ 304800 w 1377950"/>
                <a:gd name="connsiteY110" fmla="*/ 527050 h 1035050"/>
                <a:gd name="connsiteX111" fmla="*/ 266700 w 1377950"/>
                <a:gd name="connsiteY111" fmla="*/ 539750 h 1035050"/>
                <a:gd name="connsiteX112" fmla="*/ 247650 w 1377950"/>
                <a:gd name="connsiteY112" fmla="*/ 552450 h 1035050"/>
                <a:gd name="connsiteX113" fmla="*/ 241300 w 1377950"/>
                <a:gd name="connsiteY113" fmla="*/ 571500 h 1035050"/>
                <a:gd name="connsiteX114" fmla="*/ 165100 w 1377950"/>
                <a:gd name="connsiteY114" fmla="*/ 590550 h 1035050"/>
                <a:gd name="connsiteX115" fmla="*/ 146050 w 1377950"/>
                <a:gd name="connsiteY115" fmla="*/ 609600 h 1035050"/>
                <a:gd name="connsiteX116" fmla="*/ 158750 w 1377950"/>
                <a:gd name="connsiteY116" fmla="*/ 679450 h 1035050"/>
                <a:gd name="connsiteX117" fmla="*/ 171450 w 1377950"/>
                <a:gd name="connsiteY117" fmla="*/ 698500 h 1035050"/>
                <a:gd name="connsiteX118" fmla="*/ 165100 w 1377950"/>
                <a:gd name="connsiteY118" fmla="*/ 723900 h 1035050"/>
                <a:gd name="connsiteX119" fmla="*/ 127000 w 1377950"/>
                <a:gd name="connsiteY119" fmla="*/ 742950 h 1035050"/>
                <a:gd name="connsiteX120" fmla="*/ 95250 w 1377950"/>
                <a:gd name="connsiteY120" fmla="*/ 774700 h 1035050"/>
                <a:gd name="connsiteX121" fmla="*/ 63500 w 1377950"/>
                <a:gd name="connsiteY121" fmla="*/ 768350 h 1035050"/>
                <a:gd name="connsiteX122" fmla="*/ 19050 w 1377950"/>
                <a:gd name="connsiteY122" fmla="*/ 736600 h 1035050"/>
                <a:gd name="connsiteX123" fmla="*/ 6350 w 1377950"/>
                <a:gd name="connsiteY123" fmla="*/ 774700 h 1035050"/>
                <a:gd name="connsiteX124" fmla="*/ 0 w 1377950"/>
                <a:gd name="connsiteY124" fmla="*/ 793750 h 1035050"/>
                <a:gd name="connsiteX125" fmla="*/ 19050 w 1377950"/>
                <a:gd name="connsiteY125" fmla="*/ 806450 h 1035050"/>
                <a:gd name="connsiteX126" fmla="*/ 38100 w 1377950"/>
                <a:gd name="connsiteY126" fmla="*/ 844550 h 1035050"/>
                <a:gd name="connsiteX127" fmla="*/ 38100 w 1377950"/>
                <a:gd name="connsiteY127" fmla="*/ 914400 h 1035050"/>
                <a:gd name="connsiteX128" fmla="*/ 57150 w 1377950"/>
                <a:gd name="connsiteY128" fmla="*/ 927100 h 1035050"/>
                <a:gd name="connsiteX129" fmla="*/ 114300 w 1377950"/>
                <a:gd name="connsiteY129" fmla="*/ 939800 h 103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377950" h="1035050">
                  <a:moveTo>
                    <a:pt x="63500" y="914400"/>
                  </a:moveTo>
                  <a:cubicBezTo>
                    <a:pt x="81464" y="927873"/>
                    <a:pt x="90522" y="939800"/>
                    <a:pt x="114300" y="939800"/>
                  </a:cubicBezTo>
                  <a:cubicBezTo>
                    <a:pt x="120993" y="939800"/>
                    <a:pt x="127000" y="935567"/>
                    <a:pt x="133350" y="933450"/>
                  </a:cubicBezTo>
                  <a:cubicBezTo>
                    <a:pt x="150283" y="939094"/>
                    <a:pt x="161937" y="939824"/>
                    <a:pt x="171450" y="958850"/>
                  </a:cubicBezTo>
                  <a:cubicBezTo>
                    <a:pt x="176277" y="968503"/>
                    <a:pt x="175459" y="980064"/>
                    <a:pt x="177800" y="990600"/>
                  </a:cubicBezTo>
                  <a:cubicBezTo>
                    <a:pt x="183116" y="1014520"/>
                    <a:pt x="183429" y="1013836"/>
                    <a:pt x="190500" y="1035050"/>
                  </a:cubicBezTo>
                  <a:cubicBezTo>
                    <a:pt x="196850" y="1032933"/>
                    <a:pt x="204323" y="1032881"/>
                    <a:pt x="209550" y="1028700"/>
                  </a:cubicBezTo>
                  <a:cubicBezTo>
                    <a:pt x="220741" y="1019748"/>
                    <a:pt x="224417" y="1003149"/>
                    <a:pt x="228600" y="990600"/>
                  </a:cubicBezTo>
                  <a:cubicBezTo>
                    <a:pt x="226483" y="982133"/>
                    <a:pt x="222250" y="973927"/>
                    <a:pt x="222250" y="965200"/>
                  </a:cubicBezTo>
                  <a:cubicBezTo>
                    <a:pt x="222250" y="947490"/>
                    <a:pt x="235827" y="901408"/>
                    <a:pt x="254000" y="895350"/>
                  </a:cubicBezTo>
                  <a:lnTo>
                    <a:pt x="273050" y="889000"/>
                  </a:lnTo>
                  <a:cubicBezTo>
                    <a:pt x="279400" y="884767"/>
                    <a:pt x="285274" y="879713"/>
                    <a:pt x="292100" y="876300"/>
                  </a:cubicBezTo>
                  <a:cubicBezTo>
                    <a:pt x="302770" y="870965"/>
                    <a:pt x="326377" y="866652"/>
                    <a:pt x="336550" y="863600"/>
                  </a:cubicBezTo>
                  <a:cubicBezTo>
                    <a:pt x="349372" y="859753"/>
                    <a:pt x="374650" y="850900"/>
                    <a:pt x="374650" y="850900"/>
                  </a:cubicBezTo>
                  <a:cubicBezTo>
                    <a:pt x="386104" y="839446"/>
                    <a:pt x="394370" y="825500"/>
                    <a:pt x="412750" y="825500"/>
                  </a:cubicBezTo>
                  <a:cubicBezTo>
                    <a:pt x="419443" y="825500"/>
                    <a:pt x="425450" y="829733"/>
                    <a:pt x="431800" y="831850"/>
                  </a:cubicBezTo>
                  <a:cubicBezTo>
                    <a:pt x="434141" y="834191"/>
                    <a:pt x="462164" y="864705"/>
                    <a:pt x="469900" y="863600"/>
                  </a:cubicBezTo>
                  <a:cubicBezTo>
                    <a:pt x="480377" y="862103"/>
                    <a:pt x="486688" y="850701"/>
                    <a:pt x="495300" y="844550"/>
                  </a:cubicBezTo>
                  <a:cubicBezTo>
                    <a:pt x="501510" y="840114"/>
                    <a:pt x="508000" y="836083"/>
                    <a:pt x="514350" y="831850"/>
                  </a:cubicBezTo>
                  <a:cubicBezTo>
                    <a:pt x="516467" y="825500"/>
                    <a:pt x="517707" y="818787"/>
                    <a:pt x="520700" y="812800"/>
                  </a:cubicBezTo>
                  <a:cubicBezTo>
                    <a:pt x="536955" y="780290"/>
                    <a:pt x="539044" y="793044"/>
                    <a:pt x="584200" y="787400"/>
                  </a:cubicBezTo>
                  <a:cubicBezTo>
                    <a:pt x="590564" y="768307"/>
                    <a:pt x="589573" y="765713"/>
                    <a:pt x="603250" y="749300"/>
                  </a:cubicBezTo>
                  <a:cubicBezTo>
                    <a:pt x="608999" y="742401"/>
                    <a:pt x="616787" y="737339"/>
                    <a:pt x="622300" y="730250"/>
                  </a:cubicBezTo>
                  <a:cubicBezTo>
                    <a:pt x="631671" y="718202"/>
                    <a:pt x="647700" y="692150"/>
                    <a:pt x="647700" y="692150"/>
                  </a:cubicBezTo>
                  <a:cubicBezTo>
                    <a:pt x="658283" y="694267"/>
                    <a:pt x="668979" y="695882"/>
                    <a:pt x="679450" y="698500"/>
                  </a:cubicBezTo>
                  <a:cubicBezTo>
                    <a:pt x="685944" y="700123"/>
                    <a:pt x="691898" y="705950"/>
                    <a:pt x="698500" y="704850"/>
                  </a:cubicBezTo>
                  <a:cubicBezTo>
                    <a:pt x="706028" y="703595"/>
                    <a:pt x="711200" y="696383"/>
                    <a:pt x="717550" y="692150"/>
                  </a:cubicBezTo>
                  <a:lnTo>
                    <a:pt x="742950" y="654050"/>
                  </a:lnTo>
                  <a:cubicBezTo>
                    <a:pt x="746663" y="648481"/>
                    <a:pt x="745119" y="640227"/>
                    <a:pt x="749300" y="635000"/>
                  </a:cubicBezTo>
                  <a:cubicBezTo>
                    <a:pt x="758252" y="623809"/>
                    <a:pt x="774851" y="620133"/>
                    <a:pt x="787400" y="615950"/>
                  </a:cubicBezTo>
                  <a:cubicBezTo>
                    <a:pt x="823727" y="623215"/>
                    <a:pt x="827662" y="627483"/>
                    <a:pt x="869950" y="615950"/>
                  </a:cubicBezTo>
                  <a:cubicBezTo>
                    <a:pt x="877313" y="613942"/>
                    <a:pt x="882650" y="607483"/>
                    <a:pt x="889000" y="603250"/>
                  </a:cubicBezTo>
                  <a:cubicBezTo>
                    <a:pt x="891117" y="592667"/>
                    <a:pt x="888441" y="579791"/>
                    <a:pt x="895350" y="571500"/>
                  </a:cubicBezTo>
                  <a:cubicBezTo>
                    <a:pt x="900937" y="564796"/>
                    <a:pt x="912578" y="568214"/>
                    <a:pt x="920750" y="565150"/>
                  </a:cubicBezTo>
                  <a:cubicBezTo>
                    <a:pt x="951150" y="553750"/>
                    <a:pt x="937868" y="552407"/>
                    <a:pt x="965200" y="546100"/>
                  </a:cubicBezTo>
                  <a:cubicBezTo>
                    <a:pt x="986233" y="541246"/>
                    <a:pt x="1008222" y="540226"/>
                    <a:pt x="1028700" y="533400"/>
                  </a:cubicBezTo>
                  <a:lnTo>
                    <a:pt x="1066800" y="520700"/>
                  </a:lnTo>
                  <a:cubicBezTo>
                    <a:pt x="1073150" y="516467"/>
                    <a:pt x="1080454" y="513396"/>
                    <a:pt x="1085850" y="508000"/>
                  </a:cubicBezTo>
                  <a:cubicBezTo>
                    <a:pt x="1098139" y="495711"/>
                    <a:pt x="1104580" y="485376"/>
                    <a:pt x="1092200" y="469900"/>
                  </a:cubicBezTo>
                  <a:cubicBezTo>
                    <a:pt x="1087432" y="463941"/>
                    <a:pt x="1079013" y="462086"/>
                    <a:pt x="1073150" y="457200"/>
                  </a:cubicBezTo>
                  <a:cubicBezTo>
                    <a:pt x="1066251" y="451451"/>
                    <a:pt x="1060450" y="444500"/>
                    <a:pt x="1054100" y="438150"/>
                  </a:cubicBezTo>
                  <a:cubicBezTo>
                    <a:pt x="1039283" y="393700"/>
                    <a:pt x="1037167" y="412750"/>
                    <a:pt x="1047750" y="381000"/>
                  </a:cubicBezTo>
                  <a:cubicBezTo>
                    <a:pt x="1060450" y="383117"/>
                    <a:pt x="1074085" y="382121"/>
                    <a:pt x="1085850" y="387350"/>
                  </a:cubicBezTo>
                  <a:cubicBezTo>
                    <a:pt x="1094056" y="390997"/>
                    <a:pt x="1097428" y="401419"/>
                    <a:pt x="1104900" y="406400"/>
                  </a:cubicBezTo>
                  <a:cubicBezTo>
                    <a:pt x="1110469" y="410113"/>
                    <a:pt x="1117600" y="410633"/>
                    <a:pt x="1123950" y="412750"/>
                  </a:cubicBezTo>
                  <a:cubicBezTo>
                    <a:pt x="1136525" y="406463"/>
                    <a:pt x="1159187" y="388244"/>
                    <a:pt x="1174750" y="406400"/>
                  </a:cubicBezTo>
                  <a:cubicBezTo>
                    <a:pt x="1183462" y="416564"/>
                    <a:pt x="1183217" y="431800"/>
                    <a:pt x="1187450" y="444500"/>
                  </a:cubicBezTo>
                  <a:cubicBezTo>
                    <a:pt x="1189567" y="450850"/>
                    <a:pt x="1192177" y="457056"/>
                    <a:pt x="1193800" y="463550"/>
                  </a:cubicBezTo>
                  <a:cubicBezTo>
                    <a:pt x="1195917" y="472017"/>
                    <a:pt x="1195145" y="481800"/>
                    <a:pt x="1200150" y="488950"/>
                  </a:cubicBezTo>
                  <a:cubicBezTo>
                    <a:pt x="1226222" y="526196"/>
                    <a:pt x="1227458" y="523453"/>
                    <a:pt x="1257300" y="533400"/>
                  </a:cubicBezTo>
                  <a:cubicBezTo>
                    <a:pt x="1267883" y="531283"/>
                    <a:pt x="1278579" y="529668"/>
                    <a:pt x="1289050" y="527050"/>
                  </a:cubicBezTo>
                  <a:cubicBezTo>
                    <a:pt x="1295544" y="525427"/>
                    <a:pt x="1303367" y="525433"/>
                    <a:pt x="1308100" y="520700"/>
                  </a:cubicBezTo>
                  <a:cubicBezTo>
                    <a:pt x="1312833" y="515967"/>
                    <a:pt x="1312333" y="508000"/>
                    <a:pt x="1314450" y="501650"/>
                  </a:cubicBezTo>
                  <a:cubicBezTo>
                    <a:pt x="1316567" y="474133"/>
                    <a:pt x="1316496" y="446360"/>
                    <a:pt x="1320800" y="419100"/>
                  </a:cubicBezTo>
                  <a:cubicBezTo>
                    <a:pt x="1322888" y="405877"/>
                    <a:pt x="1329267" y="393700"/>
                    <a:pt x="1333500" y="381000"/>
                  </a:cubicBezTo>
                  <a:cubicBezTo>
                    <a:pt x="1342263" y="354710"/>
                    <a:pt x="1336137" y="367519"/>
                    <a:pt x="1352550" y="342900"/>
                  </a:cubicBezTo>
                  <a:cubicBezTo>
                    <a:pt x="1366840" y="285740"/>
                    <a:pt x="1350385" y="355890"/>
                    <a:pt x="1365250" y="266700"/>
                  </a:cubicBezTo>
                  <a:cubicBezTo>
                    <a:pt x="1367908" y="250753"/>
                    <a:pt x="1372917" y="237349"/>
                    <a:pt x="1377950" y="222250"/>
                  </a:cubicBezTo>
                  <a:cubicBezTo>
                    <a:pt x="1373407" y="199533"/>
                    <a:pt x="1375251" y="187801"/>
                    <a:pt x="1358900" y="171450"/>
                  </a:cubicBezTo>
                  <a:cubicBezTo>
                    <a:pt x="1353504" y="166054"/>
                    <a:pt x="1346200" y="162983"/>
                    <a:pt x="1339850" y="158750"/>
                  </a:cubicBezTo>
                  <a:cubicBezTo>
                    <a:pt x="1325555" y="115866"/>
                    <a:pt x="1342051" y="168654"/>
                    <a:pt x="1327150" y="101600"/>
                  </a:cubicBezTo>
                  <a:cubicBezTo>
                    <a:pt x="1325698" y="95066"/>
                    <a:pt x="1326247" y="86441"/>
                    <a:pt x="1320800" y="82550"/>
                  </a:cubicBezTo>
                  <a:cubicBezTo>
                    <a:pt x="1309907" y="74769"/>
                    <a:pt x="1295400" y="74083"/>
                    <a:pt x="1282700" y="69850"/>
                  </a:cubicBezTo>
                  <a:lnTo>
                    <a:pt x="1263650" y="63500"/>
                  </a:lnTo>
                  <a:lnTo>
                    <a:pt x="1244600" y="57150"/>
                  </a:lnTo>
                  <a:cubicBezTo>
                    <a:pt x="1238250" y="52917"/>
                    <a:pt x="1231413" y="49336"/>
                    <a:pt x="1225550" y="44450"/>
                  </a:cubicBezTo>
                  <a:cubicBezTo>
                    <a:pt x="1218651" y="38701"/>
                    <a:pt x="1215212" y="27578"/>
                    <a:pt x="1206500" y="25400"/>
                  </a:cubicBezTo>
                  <a:cubicBezTo>
                    <a:pt x="1179726" y="18707"/>
                    <a:pt x="1151467" y="21167"/>
                    <a:pt x="1123950" y="19050"/>
                  </a:cubicBezTo>
                  <a:cubicBezTo>
                    <a:pt x="1111250" y="21167"/>
                    <a:pt x="1097615" y="20171"/>
                    <a:pt x="1085850" y="25400"/>
                  </a:cubicBezTo>
                  <a:cubicBezTo>
                    <a:pt x="1077644" y="29047"/>
                    <a:pt x="1074272" y="39469"/>
                    <a:pt x="1066800" y="44450"/>
                  </a:cubicBezTo>
                  <a:cubicBezTo>
                    <a:pt x="1061231" y="48163"/>
                    <a:pt x="1054100" y="48683"/>
                    <a:pt x="1047750" y="50800"/>
                  </a:cubicBezTo>
                  <a:cubicBezTo>
                    <a:pt x="1035050" y="48683"/>
                    <a:pt x="1021864" y="48521"/>
                    <a:pt x="1009650" y="44450"/>
                  </a:cubicBezTo>
                  <a:cubicBezTo>
                    <a:pt x="1002410" y="42037"/>
                    <a:pt x="998173" y="32697"/>
                    <a:pt x="990600" y="31750"/>
                  </a:cubicBezTo>
                  <a:cubicBezTo>
                    <a:pt x="979890" y="30411"/>
                    <a:pt x="969433" y="35983"/>
                    <a:pt x="958850" y="38100"/>
                  </a:cubicBezTo>
                  <a:cubicBezTo>
                    <a:pt x="952500" y="42333"/>
                    <a:pt x="944568" y="44841"/>
                    <a:pt x="939800" y="50800"/>
                  </a:cubicBezTo>
                  <a:cubicBezTo>
                    <a:pt x="935619" y="56027"/>
                    <a:pt x="936443" y="63863"/>
                    <a:pt x="933450" y="69850"/>
                  </a:cubicBezTo>
                  <a:cubicBezTo>
                    <a:pt x="917930" y="100890"/>
                    <a:pt x="922380" y="76028"/>
                    <a:pt x="914400" y="107950"/>
                  </a:cubicBezTo>
                  <a:cubicBezTo>
                    <a:pt x="907655" y="134932"/>
                    <a:pt x="917720" y="143315"/>
                    <a:pt x="889000" y="146050"/>
                  </a:cubicBezTo>
                  <a:cubicBezTo>
                    <a:pt x="851013" y="149668"/>
                    <a:pt x="812800" y="150283"/>
                    <a:pt x="774700" y="152400"/>
                  </a:cubicBezTo>
                  <a:cubicBezTo>
                    <a:pt x="711409" y="168223"/>
                    <a:pt x="741117" y="167969"/>
                    <a:pt x="685800" y="158750"/>
                  </a:cubicBezTo>
                  <a:cubicBezTo>
                    <a:pt x="677656" y="146534"/>
                    <a:pt x="673088" y="131235"/>
                    <a:pt x="654050" y="133350"/>
                  </a:cubicBezTo>
                  <a:cubicBezTo>
                    <a:pt x="640745" y="134828"/>
                    <a:pt x="615950" y="146050"/>
                    <a:pt x="615950" y="146050"/>
                  </a:cubicBezTo>
                  <a:cubicBezTo>
                    <a:pt x="603560" y="154310"/>
                    <a:pt x="588384" y="167512"/>
                    <a:pt x="571500" y="165100"/>
                  </a:cubicBezTo>
                  <a:cubicBezTo>
                    <a:pt x="563945" y="164021"/>
                    <a:pt x="558800" y="156633"/>
                    <a:pt x="552450" y="152400"/>
                  </a:cubicBezTo>
                  <a:cubicBezTo>
                    <a:pt x="538155" y="109516"/>
                    <a:pt x="552450" y="162304"/>
                    <a:pt x="552450" y="95250"/>
                  </a:cubicBezTo>
                  <a:cubicBezTo>
                    <a:pt x="552450" y="80283"/>
                    <a:pt x="550401" y="65136"/>
                    <a:pt x="546100" y="50800"/>
                  </a:cubicBezTo>
                  <a:cubicBezTo>
                    <a:pt x="543907" y="43490"/>
                    <a:pt x="539872" y="35795"/>
                    <a:pt x="533400" y="31750"/>
                  </a:cubicBezTo>
                  <a:cubicBezTo>
                    <a:pt x="522048" y="24655"/>
                    <a:pt x="495300" y="19050"/>
                    <a:pt x="495300" y="19050"/>
                  </a:cubicBezTo>
                  <a:cubicBezTo>
                    <a:pt x="488950" y="14817"/>
                    <a:pt x="483778" y="7605"/>
                    <a:pt x="476250" y="6350"/>
                  </a:cubicBezTo>
                  <a:cubicBezTo>
                    <a:pt x="469648" y="5250"/>
                    <a:pt x="463816" y="11682"/>
                    <a:pt x="457200" y="12700"/>
                  </a:cubicBezTo>
                  <a:cubicBezTo>
                    <a:pt x="436175" y="15935"/>
                    <a:pt x="414867" y="16933"/>
                    <a:pt x="393700" y="19050"/>
                  </a:cubicBezTo>
                  <a:lnTo>
                    <a:pt x="355600" y="6350"/>
                  </a:lnTo>
                  <a:lnTo>
                    <a:pt x="336550" y="0"/>
                  </a:lnTo>
                  <a:cubicBezTo>
                    <a:pt x="323850" y="4233"/>
                    <a:pt x="305876" y="1561"/>
                    <a:pt x="298450" y="12700"/>
                  </a:cubicBezTo>
                  <a:cubicBezTo>
                    <a:pt x="294217" y="19050"/>
                    <a:pt x="292222" y="27705"/>
                    <a:pt x="285750" y="31750"/>
                  </a:cubicBezTo>
                  <a:cubicBezTo>
                    <a:pt x="267586" y="43102"/>
                    <a:pt x="236449" y="45663"/>
                    <a:pt x="215900" y="50800"/>
                  </a:cubicBezTo>
                  <a:cubicBezTo>
                    <a:pt x="209406" y="52423"/>
                    <a:pt x="203308" y="55389"/>
                    <a:pt x="196850" y="57150"/>
                  </a:cubicBezTo>
                  <a:cubicBezTo>
                    <a:pt x="180011" y="61743"/>
                    <a:pt x="146050" y="69850"/>
                    <a:pt x="146050" y="69850"/>
                  </a:cubicBezTo>
                  <a:cubicBezTo>
                    <a:pt x="102381" y="98963"/>
                    <a:pt x="112777" y="80770"/>
                    <a:pt x="101600" y="114300"/>
                  </a:cubicBezTo>
                  <a:cubicBezTo>
                    <a:pt x="95079" y="172993"/>
                    <a:pt x="90575" y="178823"/>
                    <a:pt x="101600" y="241300"/>
                  </a:cubicBezTo>
                  <a:cubicBezTo>
                    <a:pt x="103926" y="254483"/>
                    <a:pt x="111053" y="266413"/>
                    <a:pt x="114300" y="279400"/>
                  </a:cubicBezTo>
                  <a:lnTo>
                    <a:pt x="127000" y="330200"/>
                  </a:lnTo>
                  <a:cubicBezTo>
                    <a:pt x="129117" y="349250"/>
                    <a:pt x="126800" y="369337"/>
                    <a:pt x="133350" y="387350"/>
                  </a:cubicBezTo>
                  <a:cubicBezTo>
                    <a:pt x="135958" y="394522"/>
                    <a:pt x="145574" y="396637"/>
                    <a:pt x="152400" y="400050"/>
                  </a:cubicBezTo>
                  <a:cubicBezTo>
                    <a:pt x="175285" y="411492"/>
                    <a:pt x="216738" y="410929"/>
                    <a:pt x="234950" y="412750"/>
                  </a:cubicBezTo>
                  <a:cubicBezTo>
                    <a:pt x="250444" y="417915"/>
                    <a:pt x="260740" y="419490"/>
                    <a:pt x="273050" y="431800"/>
                  </a:cubicBezTo>
                  <a:cubicBezTo>
                    <a:pt x="278446" y="437196"/>
                    <a:pt x="282337" y="444024"/>
                    <a:pt x="285750" y="450850"/>
                  </a:cubicBezTo>
                  <a:cubicBezTo>
                    <a:pt x="288743" y="456837"/>
                    <a:pt x="287367" y="465167"/>
                    <a:pt x="292100" y="469900"/>
                  </a:cubicBezTo>
                  <a:cubicBezTo>
                    <a:pt x="296833" y="474633"/>
                    <a:pt x="304800" y="474133"/>
                    <a:pt x="311150" y="476250"/>
                  </a:cubicBezTo>
                  <a:cubicBezTo>
                    <a:pt x="325343" y="490443"/>
                    <a:pt x="340187" y="493928"/>
                    <a:pt x="323850" y="514350"/>
                  </a:cubicBezTo>
                  <a:cubicBezTo>
                    <a:pt x="319082" y="520309"/>
                    <a:pt x="311774" y="523950"/>
                    <a:pt x="304800" y="527050"/>
                  </a:cubicBezTo>
                  <a:cubicBezTo>
                    <a:pt x="292567" y="532487"/>
                    <a:pt x="266700" y="539750"/>
                    <a:pt x="266700" y="539750"/>
                  </a:cubicBezTo>
                  <a:cubicBezTo>
                    <a:pt x="260350" y="543983"/>
                    <a:pt x="252418" y="546491"/>
                    <a:pt x="247650" y="552450"/>
                  </a:cubicBezTo>
                  <a:cubicBezTo>
                    <a:pt x="243469" y="557677"/>
                    <a:pt x="246747" y="567609"/>
                    <a:pt x="241300" y="571500"/>
                  </a:cubicBezTo>
                  <a:cubicBezTo>
                    <a:pt x="225987" y="582438"/>
                    <a:pt x="182742" y="587610"/>
                    <a:pt x="165100" y="590550"/>
                  </a:cubicBezTo>
                  <a:cubicBezTo>
                    <a:pt x="158750" y="596900"/>
                    <a:pt x="147656" y="600765"/>
                    <a:pt x="146050" y="609600"/>
                  </a:cubicBezTo>
                  <a:cubicBezTo>
                    <a:pt x="144299" y="619231"/>
                    <a:pt x="150507" y="662963"/>
                    <a:pt x="158750" y="679450"/>
                  </a:cubicBezTo>
                  <a:cubicBezTo>
                    <a:pt x="162163" y="686276"/>
                    <a:pt x="167217" y="692150"/>
                    <a:pt x="171450" y="698500"/>
                  </a:cubicBezTo>
                  <a:cubicBezTo>
                    <a:pt x="169333" y="706967"/>
                    <a:pt x="169941" y="716638"/>
                    <a:pt x="165100" y="723900"/>
                  </a:cubicBezTo>
                  <a:cubicBezTo>
                    <a:pt x="158066" y="734451"/>
                    <a:pt x="137867" y="739328"/>
                    <a:pt x="127000" y="742950"/>
                  </a:cubicBezTo>
                  <a:cubicBezTo>
                    <a:pt x="120073" y="753341"/>
                    <a:pt x="110644" y="772776"/>
                    <a:pt x="95250" y="774700"/>
                  </a:cubicBezTo>
                  <a:cubicBezTo>
                    <a:pt x="84540" y="776039"/>
                    <a:pt x="74083" y="770467"/>
                    <a:pt x="63500" y="768350"/>
                  </a:cubicBezTo>
                  <a:cubicBezTo>
                    <a:pt x="59958" y="764808"/>
                    <a:pt x="29080" y="729914"/>
                    <a:pt x="19050" y="736600"/>
                  </a:cubicBezTo>
                  <a:cubicBezTo>
                    <a:pt x="7911" y="744026"/>
                    <a:pt x="10583" y="762000"/>
                    <a:pt x="6350" y="774700"/>
                  </a:cubicBezTo>
                  <a:lnTo>
                    <a:pt x="0" y="793750"/>
                  </a:lnTo>
                  <a:cubicBezTo>
                    <a:pt x="6350" y="797983"/>
                    <a:pt x="13654" y="801054"/>
                    <a:pt x="19050" y="806450"/>
                  </a:cubicBezTo>
                  <a:cubicBezTo>
                    <a:pt x="31360" y="818760"/>
                    <a:pt x="32935" y="829056"/>
                    <a:pt x="38100" y="844550"/>
                  </a:cubicBezTo>
                  <a:cubicBezTo>
                    <a:pt x="31481" y="871026"/>
                    <a:pt x="24752" y="884366"/>
                    <a:pt x="38100" y="914400"/>
                  </a:cubicBezTo>
                  <a:cubicBezTo>
                    <a:pt x="41200" y="921374"/>
                    <a:pt x="50176" y="924000"/>
                    <a:pt x="57150" y="927100"/>
                  </a:cubicBezTo>
                  <a:cubicBezTo>
                    <a:pt x="90243" y="941808"/>
                    <a:pt x="87096" y="939800"/>
                    <a:pt x="114300" y="939800"/>
                  </a:cubicBezTo>
                </a:path>
              </a:pathLst>
            </a:custGeom>
            <a:grpFill/>
            <a:ln w="12700" cap="flat" cmpd="sng" algn="ctr">
              <a:solidFill>
                <a:schemeClr val="bg1"/>
              </a:solidFill>
              <a:prstDash val="solid"/>
              <a:round/>
              <a:headEnd type="none" w="med" len="med"/>
              <a:tailEnd type="none" w="med" len="med"/>
            </a:ln>
            <a:effectLst/>
          </p:spPr>
          <p:txBody>
            <a:bodyPr rtlCol="0" anchor="ctr"/>
            <a:lstStyle/>
            <a:p>
              <a:pPr algn="ctr" rtl="0" eaLnBrk="0" fontAlgn="base" hangingPunct="0">
                <a:spcBef>
                  <a:spcPct val="50000"/>
                </a:spcBef>
                <a:spcAft>
                  <a:spcPct val="0"/>
                </a:spcAft>
              </a:pPr>
              <a:endParaRPr lang="en-US" sz="1200">
                <a:solidFill>
                  <a:srgbClr val="000000"/>
                </a:solidFill>
                <a:latin typeface="Arial" charset="0"/>
              </a:endParaRPr>
            </a:p>
          </p:txBody>
        </p:sp>
        <p:sp>
          <p:nvSpPr>
            <p:cNvPr id="41" name="Freeform 40"/>
            <p:cNvSpPr/>
            <p:nvPr/>
          </p:nvSpPr>
          <p:spPr bwMode="gray">
            <a:xfrm>
              <a:off x="3708355" y="2233083"/>
              <a:ext cx="274864" cy="167217"/>
            </a:xfrm>
            <a:custGeom>
              <a:avLst/>
              <a:gdLst>
                <a:gd name="connsiteX0" fmla="*/ 2117 w 274864"/>
                <a:gd name="connsiteY0" fmla="*/ 2117 h 167217"/>
                <a:gd name="connsiteX1" fmla="*/ 78317 w 274864"/>
                <a:gd name="connsiteY1" fmla="*/ 40217 h 167217"/>
                <a:gd name="connsiteX2" fmla="*/ 103717 w 274864"/>
                <a:gd name="connsiteY2" fmla="*/ 116417 h 167217"/>
                <a:gd name="connsiteX3" fmla="*/ 141817 w 274864"/>
                <a:gd name="connsiteY3" fmla="*/ 141817 h 167217"/>
                <a:gd name="connsiteX4" fmla="*/ 230717 w 274864"/>
                <a:gd name="connsiteY4" fmla="*/ 167217 h 167217"/>
                <a:gd name="connsiteX5" fmla="*/ 268817 w 274864"/>
                <a:gd name="connsiteY5" fmla="*/ 129117 h 167217"/>
                <a:gd name="connsiteX6" fmla="*/ 205317 w 274864"/>
                <a:gd name="connsiteY6" fmla="*/ 78317 h 167217"/>
                <a:gd name="connsiteX7" fmla="*/ 91017 w 274864"/>
                <a:gd name="connsiteY7" fmla="*/ 27517 h 167217"/>
                <a:gd name="connsiteX8" fmla="*/ 2117 w 274864"/>
                <a:gd name="connsiteY8" fmla="*/ 2117 h 1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864" h="167217">
                  <a:moveTo>
                    <a:pt x="2117" y="2117"/>
                  </a:moveTo>
                  <a:cubicBezTo>
                    <a:pt x="0" y="4234"/>
                    <a:pt x="65359" y="19485"/>
                    <a:pt x="78317" y="40217"/>
                  </a:cubicBezTo>
                  <a:cubicBezTo>
                    <a:pt x="92507" y="62921"/>
                    <a:pt x="81440" y="101565"/>
                    <a:pt x="103717" y="116417"/>
                  </a:cubicBezTo>
                  <a:cubicBezTo>
                    <a:pt x="116417" y="124884"/>
                    <a:pt x="128165" y="134991"/>
                    <a:pt x="141817" y="141817"/>
                  </a:cubicBezTo>
                  <a:cubicBezTo>
                    <a:pt x="160037" y="150927"/>
                    <a:pt x="214441" y="163148"/>
                    <a:pt x="230717" y="167217"/>
                  </a:cubicBezTo>
                  <a:cubicBezTo>
                    <a:pt x="243417" y="154517"/>
                    <a:pt x="265864" y="146833"/>
                    <a:pt x="268817" y="129117"/>
                  </a:cubicBezTo>
                  <a:cubicBezTo>
                    <a:pt x="274864" y="92836"/>
                    <a:pt x="223804" y="84479"/>
                    <a:pt x="205317" y="78317"/>
                  </a:cubicBezTo>
                  <a:cubicBezTo>
                    <a:pt x="159639" y="9800"/>
                    <a:pt x="202231" y="53182"/>
                    <a:pt x="91017" y="27517"/>
                  </a:cubicBezTo>
                  <a:cubicBezTo>
                    <a:pt x="64929" y="21497"/>
                    <a:pt x="4234" y="0"/>
                    <a:pt x="2117" y="2117"/>
                  </a:cubicBezTo>
                  <a:close/>
                </a:path>
              </a:pathLst>
            </a:custGeom>
            <a:grpFill/>
            <a:ln w="12700" cap="flat" cmpd="sng" algn="ctr">
              <a:solidFill>
                <a:schemeClr val="bg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rtl="0" eaLnBrk="0" fontAlgn="base" hangingPunct="0">
                <a:spcBef>
                  <a:spcPct val="50000"/>
                </a:spcBef>
                <a:spcAft>
                  <a:spcPct val="0"/>
                </a:spcAft>
              </a:pPr>
              <a:endParaRPr lang="en-US" sz="1200">
                <a:solidFill>
                  <a:srgbClr val="000000"/>
                </a:solidFill>
                <a:latin typeface="Arial" charset="0"/>
              </a:endParaRPr>
            </a:p>
          </p:txBody>
        </p:sp>
      </p:grpSp>
      <p:sp>
        <p:nvSpPr>
          <p:cNvPr id="42" name="Legende mit Linie 1 4">
            <a:extLst>
              <a:ext uri="{FF2B5EF4-FFF2-40B4-BE49-F238E27FC236}">
                <a16:creationId xmlns:a16="http://schemas.microsoft.com/office/drawing/2014/main" id="{FEE26F77-EB41-4D5F-BCF7-EE2BE6594BD8}"/>
              </a:ext>
            </a:extLst>
          </p:cNvPr>
          <p:cNvSpPr/>
          <p:nvPr/>
        </p:nvSpPr>
        <p:spPr>
          <a:xfrm>
            <a:off x="8110595" y="2355578"/>
            <a:ext cx="3566889" cy="576554"/>
          </a:xfrm>
          <a:prstGeom prst="borderCallout1">
            <a:avLst>
              <a:gd name="adj1" fmla="val 18750"/>
              <a:gd name="adj2" fmla="val -8333"/>
              <a:gd name="adj3" fmla="val -11909"/>
              <a:gd name="adj4" fmla="val -24680"/>
            </a:avLst>
          </a:prstGeom>
          <a:solidFill>
            <a:srgbClr val="C7FCD0"/>
          </a:solidFill>
          <a:ln w="12700" cap="flat" cmpd="sng" algn="ctr">
            <a:solidFill>
              <a:srgbClr val="333F4C"/>
            </a:solidFill>
            <a:prstDash val="solid"/>
            <a:miter lim="800000"/>
          </a:ln>
          <a:effectLst/>
        </p:spPr>
        <p:txBody>
          <a:bodyPr rtlCol="0" anchor="ctr"/>
          <a:lstStyle/>
          <a:p>
            <a:pPr marR="0" lvl="0" defTabSz="914446" eaLnBrk="1" fontAlgn="auto" latinLnBrk="0" hangingPunct="1">
              <a:lnSpc>
                <a:spcPct val="100000"/>
              </a:lnSpc>
              <a:spcBef>
                <a:spcPts val="0"/>
              </a:spcBef>
              <a:spcAft>
                <a:spcPts val="0"/>
              </a:spcAft>
              <a:buClrTx/>
              <a:buSzTx/>
              <a:tabLst/>
              <a:defRPr/>
            </a:pPr>
            <a:r>
              <a:rPr kumimoji="0" lang="en-US" sz="1400" b="0" i="0" u="none" strike="noStrike" kern="0" cap="none" spc="0" normalizeH="0" baseline="0" noProof="0" dirty="0">
                <a:ln>
                  <a:noFill/>
                </a:ln>
                <a:solidFill>
                  <a:srgbClr val="000000"/>
                </a:solidFill>
                <a:effectLst/>
                <a:uLnTx/>
                <a:uFillTx/>
                <a:latin typeface="HaufeMerriweatherSansLt"/>
                <a:ea typeface="+mn-ea"/>
                <a:cs typeface="+mn-cs"/>
              </a:rPr>
              <a:t>Tip! Click once to select the entire map, and again to select one or more regions within it</a:t>
            </a:r>
            <a:endParaRPr kumimoji="0" lang="de-AT" sz="1400" b="0" i="0" u="none" strike="noStrike" kern="0" cap="none" spc="0" normalizeH="0" baseline="0" noProof="0" dirty="0">
              <a:ln>
                <a:noFill/>
              </a:ln>
              <a:solidFill>
                <a:srgbClr val="000000"/>
              </a:solidFill>
              <a:effectLst/>
              <a:uLnTx/>
              <a:uFillTx/>
              <a:latin typeface="HaufeMerriweatherSansLt"/>
              <a:ea typeface="+mn-ea"/>
              <a:cs typeface="+mn-cs"/>
            </a:endParaRPr>
          </a:p>
        </p:txBody>
      </p:sp>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753" name="Title 1"/>
          <p:cNvSpPr>
            <a:spLocks noGrp="1"/>
          </p:cNvSpPr>
          <p:nvPr>
            <p:ph type="title"/>
          </p:nvPr>
        </p:nvSpPr>
        <p:spPr/>
        <p:txBody>
          <a:bodyPr/>
          <a:lstStyle/>
          <a:p>
            <a:r>
              <a:rPr lang="en-US" dirty="0"/>
              <a:t>Switzerland &amp; Austria</a:t>
            </a:r>
            <a:endParaRPr lang="en-US" dirty="0">
              <a:solidFill>
                <a:srgbClr val="575757"/>
              </a:solidFill>
            </a:endParaRPr>
          </a:p>
        </p:txBody>
      </p:sp>
      <p:sp>
        <p:nvSpPr>
          <p:cNvPr id="2" name="Foliennummernplatzhalter 1">
            <a:extLst>
              <a:ext uri="{FF2B5EF4-FFF2-40B4-BE49-F238E27FC236}">
                <a16:creationId xmlns:a16="http://schemas.microsoft.com/office/drawing/2014/main" id="{E10BAE87-C0D2-4823-9BE5-2205DAC8E66E}"/>
              </a:ext>
            </a:extLst>
          </p:cNvPr>
          <p:cNvSpPr>
            <a:spLocks noGrp="1"/>
          </p:cNvSpPr>
          <p:nvPr>
            <p:ph type="sldNum" sz="quarter" idx="16"/>
          </p:nvPr>
        </p:nvSpPr>
        <p:spPr/>
        <p:txBody>
          <a:bodyPr/>
          <a:lstStyle/>
          <a:p>
            <a:fld id="{95CC1D26-A9BD-4BDE-BDD9-08EDBAE96860}" type="slidenum">
              <a:rPr lang="en-GB" smtClean="0"/>
              <a:pPr/>
              <a:t>31</a:t>
            </a:fld>
            <a:endParaRPr lang="en-GB" dirty="0"/>
          </a:p>
        </p:txBody>
      </p:sp>
      <p:sp>
        <p:nvSpPr>
          <p:cNvPr id="6" name="Freeform 10"/>
          <p:cNvSpPr>
            <a:spLocks noChangeAspect="1"/>
          </p:cNvSpPr>
          <p:nvPr/>
        </p:nvSpPr>
        <p:spPr bwMode="gray">
          <a:xfrm>
            <a:off x="1906588" y="2286001"/>
            <a:ext cx="3956050" cy="2727325"/>
          </a:xfrm>
          <a:custGeom>
            <a:avLst/>
            <a:gdLst>
              <a:gd name="T0" fmla="*/ 2167 w 2167"/>
              <a:gd name="T1" fmla="*/ 822 h 1380"/>
              <a:gd name="T2" fmla="*/ 2096 w 2167"/>
              <a:gd name="T3" fmla="*/ 878 h 1380"/>
              <a:gd name="T4" fmla="*/ 2018 w 2167"/>
              <a:gd name="T5" fmla="*/ 829 h 1380"/>
              <a:gd name="T6" fmla="*/ 2001 w 2167"/>
              <a:gd name="T7" fmla="*/ 943 h 1380"/>
              <a:gd name="T8" fmla="*/ 1991 w 2167"/>
              <a:gd name="T9" fmla="*/ 1096 h 1380"/>
              <a:gd name="T10" fmla="*/ 1917 w 2167"/>
              <a:gd name="T11" fmla="*/ 1034 h 1380"/>
              <a:gd name="T12" fmla="*/ 1846 w 2167"/>
              <a:gd name="T13" fmla="*/ 1012 h 1380"/>
              <a:gd name="T14" fmla="*/ 1759 w 2167"/>
              <a:gd name="T15" fmla="*/ 1056 h 1380"/>
              <a:gd name="T16" fmla="*/ 1655 w 2167"/>
              <a:gd name="T17" fmla="*/ 970 h 1380"/>
              <a:gd name="T18" fmla="*/ 1592 w 2167"/>
              <a:gd name="T19" fmla="*/ 959 h 1380"/>
              <a:gd name="T20" fmla="*/ 1561 w 2167"/>
              <a:gd name="T21" fmla="*/ 1121 h 1380"/>
              <a:gd name="T22" fmla="*/ 1479 w 2167"/>
              <a:gd name="T23" fmla="*/ 1245 h 1380"/>
              <a:gd name="T24" fmla="*/ 1481 w 2167"/>
              <a:gd name="T25" fmla="*/ 1362 h 1380"/>
              <a:gd name="T26" fmla="*/ 1409 w 2167"/>
              <a:gd name="T27" fmla="*/ 1352 h 1380"/>
              <a:gd name="T28" fmla="*/ 1350 w 2167"/>
              <a:gd name="T29" fmla="*/ 1243 h 1380"/>
              <a:gd name="T30" fmla="*/ 1304 w 2167"/>
              <a:gd name="T31" fmla="*/ 1187 h 1380"/>
              <a:gd name="T32" fmla="*/ 1205 w 2167"/>
              <a:gd name="T33" fmla="*/ 1103 h 1380"/>
              <a:gd name="T34" fmla="*/ 1178 w 2167"/>
              <a:gd name="T35" fmla="*/ 951 h 1380"/>
              <a:gd name="T36" fmla="*/ 1093 w 2167"/>
              <a:gd name="T37" fmla="*/ 1037 h 1380"/>
              <a:gd name="T38" fmla="*/ 1075 w 2167"/>
              <a:gd name="T39" fmla="*/ 1129 h 1380"/>
              <a:gd name="T40" fmla="*/ 991 w 2167"/>
              <a:gd name="T41" fmla="*/ 1240 h 1380"/>
              <a:gd name="T42" fmla="*/ 882 w 2167"/>
              <a:gd name="T43" fmla="*/ 1314 h 1380"/>
              <a:gd name="T44" fmla="*/ 792 w 2167"/>
              <a:gd name="T45" fmla="*/ 1282 h 1380"/>
              <a:gd name="T46" fmla="*/ 703 w 2167"/>
              <a:gd name="T47" fmla="*/ 1321 h 1380"/>
              <a:gd name="T48" fmla="*/ 609 w 2167"/>
              <a:gd name="T49" fmla="*/ 1349 h 1380"/>
              <a:gd name="T50" fmla="*/ 530 w 2167"/>
              <a:gd name="T51" fmla="*/ 1330 h 1380"/>
              <a:gd name="T52" fmla="*/ 444 w 2167"/>
              <a:gd name="T53" fmla="*/ 1215 h 1380"/>
              <a:gd name="T54" fmla="*/ 388 w 2167"/>
              <a:gd name="T55" fmla="*/ 1133 h 1380"/>
              <a:gd name="T56" fmla="*/ 396 w 2167"/>
              <a:gd name="T57" fmla="*/ 1002 h 1380"/>
              <a:gd name="T58" fmla="*/ 292 w 2167"/>
              <a:gd name="T59" fmla="*/ 943 h 1380"/>
              <a:gd name="T60" fmla="*/ 183 w 2167"/>
              <a:gd name="T61" fmla="*/ 984 h 1380"/>
              <a:gd name="T62" fmla="*/ 182 w 2167"/>
              <a:gd name="T63" fmla="*/ 1055 h 1380"/>
              <a:gd name="T64" fmla="*/ 92 w 2167"/>
              <a:gd name="T65" fmla="*/ 1152 h 1380"/>
              <a:gd name="T66" fmla="*/ 5 w 2167"/>
              <a:gd name="T67" fmla="*/ 1141 h 1380"/>
              <a:gd name="T68" fmla="*/ 65 w 2167"/>
              <a:gd name="T69" fmla="*/ 1062 h 1380"/>
              <a:gd name="T70" fmla="*/ 75 w 2167"/>
              <a:gd name="T71" fmla="*/ 891 h 1380"/>
              <a:gd name="T72" fmla="*/ 192 w 2167"/>
              <a:gd name="T73" fmla="*/ 743 h 1380"/>
              <a:gd name="T74" fmla="*/ 247 w 2167"/>
              <a:gd name="T75" fmla="*/ 638 h 1380"/>
              <a:gd name="T76" fmla="*/ 310 w 2167"/>
              <a:gd name="T77" fmla="*/ 564 h 1380"/>
              <a:gd name="T78" fmla="*/ 406 w 2167"/>
              <a:gd name="T79" fmla="*/ 471 h 1380"/>
              <a:gd name="T80" fmla="*/ 485 w 2167"/>
              <a:gd name="T81" fmla="*/ 359 h 1380"/>
              <a:gd name="T82" fmla="*/ 486 w 2167"/>
              <a:gd name="T83" fmla="*/ 321 h 1380"/>
              <a:gd name="T84" fmla="*/ 494 w 2167"/>
              <a:gd name="T85" fmla="*/ 243 h 1380"/>
              <a:gd name="T86" fmla="*/ 595 w 2167"/>
              <a:gd name="T87" fmla="*/ 214 h 1380"/>
              <a:gd name="T88" fmla="*/ 684 w 2167"/>
              <a:gd name="T89" fmla="*/ 256 h 1380"/>
              <a:gd name="T90" fmla="*/ 772 w 2167"/>
              <a:gd name="T91" fmla="*/ 161 h 1380"/>
              <a:gd name="T92" fmla="*/ 845 w 2167"/>
              <a:gd name="T93" fmla="*/ 188 h 1380"/>
              <a:gd name="T94" fmla="*/ 946 w 2167"/>
              <a:gd name="T95" fmla="*/ 161 h 1380"/>
              <a:gd name="T96" fmla="*/ 1047 w 2167"/>
              <a:gd name="T97" fmla="*/ 149 h 1380"/>
              <a:gd name="T98" fmla="*/ 1161 w 2167"/>
              <a:gd name="T99" fmla="*/ 165 h 1380"/>
              <a:gd name="T100" fmla="*/ 1198 w 2167"/>
              <a:gd name="T101" fmla="*/ 43 h 1380"/>
              <a:gd name="T102" fmla="*/ 1258 w 2167"/>
              <a:gd name="T103" fmla="*/ 1 h 1380"/>
              <a:gd name="T104" fmla="*/ 1334 w 2167"/>
              <a:gd name="T105" fmla="*/ 78 h 1380"/>
              <a:gd name="T106" fmla="*/ 1431 w 2167"/>
              <a:gd name="T107" fmla="*/ 94 h 1380"/>
              <a:gd name="T108" fmla="*/ 1551 w 2167"/>
              <a:gd name="T109" fmla="*/ 100 h 1380"/>
              <a:gd name="T110" fmla="*/ 1706 w 2167"/>
              <a:gd name="T111" fmla="*/ 188 h 1380"/>
              <a:gd name="T112" fmla="*/ 1763 w 2167"/>
              <a:gd name="T113" fmla="*/ 278 h 1380"/>
              <a:gd name="T114" fmla="*/ 1692 w 2167"/>
              <a:gd name="T115" fmla="*/ 450 h 1380"/>
              <a:gd name="T116" fmla="*/ 1780 w 2167"/>
              <a:gd name="T117" fmla="*/ 519 h 1380"/>
              <a:gd name="T118" fmla="*/ 1875 w 2167"/>
              <a:gd name="T119" fmla="*/ 594 h 1380"/>
              <a:gd name="T120" fmla="*/ 1993 w 2167"/>
              <a:gd name="T121" fmla="*/ 640 h 1380"/>
              <a:gd name="T122" fmla="*/ 2111 w 2167"/>
              <a:gd name="T123" fmla="*/ 546 h 1380"/>
              <a:gd name="T124" fmla="*/ 2145 w 2167"/>
              <a:gd name="T125" fmla="*/ 662 h 13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7"/>
              <a:gd name="T190" fmla="*/ 0 h 1380"/>
              <a:gd name="T191" fmla="*/ 2167 w 2167"/>
              <a:gd name="T192" fmla="*/ 1380 h 13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7" h="1380">
                <a:moveTo>
                  <a:pt x="2126" y="760"/>
                </a:moveTo>
                <a:lnTo>
                  <a:pt x="2123" y="762"/>
                </a:lnTo>
                <a:lnTo>
                  <a:pt x="2119" y="769"/>
                </a:lnTo>
                <a:lnTo>
                  <a:pt x="2120" y="779"/>
                </a:lnTo>
                <a:lnTo>
                  <a:pt x="2129" y="789"/>
                </a:lnTo>
                <a:lnTo>
                  <a:pt x="2136" y="792"/>
                </a:lnTo>
                <a:lnTo>
                  <a:pt x="2143" y="796"/>
                </a:lnTo>
                <a:lnTo>
                  <a:pt x="2149" y="798"/>
                </a:lnTo>
                <a:lnTo>
                  <a:pt x="2154" y="800"/>
                </a:lnTo>
                <a:lnTo>
                  <a:pt x="2159" y="804"/>
                </a:lnTo>
                <a:lnTo>
                  <a:pt x="2164" y="807"/>
                </a:lnTo>
                <a:lnTo>
                  <a:pt x="2166" y="813"/>
                </a:lnTo>
                <a:lnTo>
                  <a:pt x="2167" y="819"/>
                </a:lnTo>
                <a:lnTo>
                  <a:pt x="2167" y="820"/>
                </a:lnTo>
                <a:lnTo>
                  <a:pt x="2167" y="821"/>
                </a:lnTo>
                <a:lnTo>
                  <a:pt x="2167" y="822"/>
                </a:lnTo>
                <a:lnTo>
                  <a:pt x="2166" y="823"/>
                </a:lnTo>
                <a:lnTo>
                  <a:pt x="2166" y="825"/>
                </a:lnTo>
                <a:lnTo>
                  <a:pt x="2166" y="826"/>
                </a:lnTo>
                <a:lnTo>
                  <a:pt x="2166" y="827"/>
                </a:lnTo>
                <a:lnTo>
                  <a:pt x="2166" y="828"/>
                </a:lnTo>
                <a:lnTo>
                  <a:pt x="2161" y="849"/>
                </a:lnTo>
                <a:lnTo>
                  <a:pt x="2155" y="867"/>
                </a:lnTo>
                <a:lnTo>
                  <a:pt x="2147" y="880"/>
                </a:lnTo>
                <a:lnTo>
                  <a:pt x="2138" y="885"/>
                </a:lnTo>
                <a:lnTo>
                  <a:pt x="2132" y="885"/>
                </a:lnTo>
                <a:lnTo>
                  <a:pt x="2127" y="883"/>
                </a:lnTo>
                <a:lnTo>
                  <a:pt x="2121" y="882"/>
                </a:lnTo>
                <a:lnTo>
                  <a:pt x="2115" y="880"/>
                </a:lnTo>
                <a:lnTo>
                  <a:pt x="2109" y="879"/>
                </a:lnTo>
                <a:lnTo>
                  <a:pt x="2102" y="878"/>
                </a:lnTo>
                <a:lnTo>
                  <a:pt x="2096" y="878"/>
                </a:lnTo>
                <a:lnTo>
                  <a:pt x="2089" y="878"/>
                </a:lnTo>
                <a:lnTo>
                  <a:pt x="2082" y="879"/>
                </a:lnTo>
                <a:lnTo>
                  <a:pt x="2075" y="878"/>
                </a:lnTo>
                <a:lnTo>
                  <a:pt x="2070" y="876"/>
                </a:lnTo>
                <a:lnTo>
                  <a:pt x="2067" y="875"/>
                </a:lnTo>
                <a:lnTo>
                  <a:pt x="2063" y="873"/>
                </a:lnTo>
                <a:lnTo>
                  <a:pt x="2060" y="871"/>
                </a:lnTo>
                <a:lnTo>
                  <a:pt x="2058" y="868"/>
                </a:lnTo>
                <a:lnTo>
                  <a:pt x="2054" y="866"/>
                </a:lnTo>
                <a:lnTo>
                  <a:pt x="2046" y="861"/>
                </a:lnTo>
                <a:lnTo>
                  <a:pt x="2037" y="856"/>
                </a:lnTo>
                <a:lnTo>
                  <a:pt x="2030" y="850"/>
                </a:lnTo>
                <a:lnTo>
                  <a:pt x="2026" y="844"/>
                </a:lnTo>
                <a:lnTo>
                  <a:pt x="2026" y="837"/>
                </a:lnTo>
                <a:lnTo>
                  <a:pt x="2024" y="833"/>
                </a:lnTo>
                <a:lnTo>
                  <a:pt x="2018" y="829"/>
                </a:lnTo>
                <a:lnTo>
                  <a:pt x="2008" y="832"/>
                </a:lnTo>
                <a:lnTo>
                  <a:pt x="2001" y="835"/>
                </a:lnTo>
                <a:lnTo>
                  <a:pt x="1993" y="840"/>
                </a:lnTo>
                <a:lnTo>
                  <a:pt x="1986" y="845"/>
                </a:lnTo>
                <a:lnTo>
                  <a:pt x="1979" y="852"/>
                </a:lnTo>
                <a:lnTo>
                  <a:pt x="1972" y="861"/>
                </a:lnTo>
                <a:lnTo>
                  <a:pt x="1968" y="871"/>
                </a:lnTo>
                <a:lnTo>
                  <a:pt x="1964" y="880"/>
                </a:lnTo>
                <a:lnTo>
                  <a:pt x="1962" y="890"/>
                </a:lnTo>
                <a:lnTo>
                  <a:pt x="1960" y="910"/>
                </a:lnTo>
                <a:lnTo>
                  <a:pt x="1960" y="925"/>
                </a:lnTo>
                <a:lnTo>
                  <a:pt x="1965" y="936"/>
                </a:lnTo>
                <a:lnTo>
                  <a:pt x="1977" y="940"/>
                </a:lnTo>
                <a:lnTo>
                  <a:pt x="1990" y="939"/>
                </a:lnTo>
                <a:lnTo>
                  <a:pt x="1996" y="940"/>
                </a:lnTo>
                <a:lnTo>
                  <a:pt x="2001" y="943"/>
                </a:lnTo>
                <a:lnTo>
                  <a:pt x="2008" y="955"/>
                </a:lnTo>
                <a:lnTo>
                  <a:pt x="2014" y="970"/>
                </a:lnTo>
                <a:lnTo>
                  <a:pt x="2011" y="980"/>
                </a:lnTo>
                <a:lnTo>
                  <a:pt x="2006" y="988"/>
                </a:lnTo>
                <a:lnTo>
                  <a:pt x="1999" y="992"/>
                </a:lnTo>
                <a:lnTo>
                  <a:pt x="1993" y="997"/>
                </a:lnTo>
                <a:lnTo>
                  <a:pt x="1991" y="1009"/>
                </a:lnTo>
                <a:lnTo>
                  <a:pt x="1994" y="1022"/>
                </a:lnTo>
                <a:lnTo>
                  <a:pt x="2002" y="1032"/>
                </a:lnTo>
                <a:lnTo>
                  <a:pt x="2013" y="1045"/>
                </a:lnTo>
                <a:lnTo>
                  <a:pt x="2020" y="1060"/>
                </a:lnTo>
                <a:lnTo>
                  <a:pt x="2020" y="1076"/>
                </a:lnTo>
                <a:lnTo>
                  <a:pt x="2011" y="1088"/>
                </a:lnTo>
                <a:lnTo>
                  <a:pt x="2005" y="1092"/>
                </a:lnTo>
                <a:lnTo>
                  <a:pt x="1998" y="1094"/>
                </a:lnTo>
                <a:lnTo>
                  <a:pt x="1991" y="1096"/>
                </a:lnTo>
                <a:lnTo>
                  <a:pt x="1985" y="1098"/>
                </a:lnTo>
                <a:lnTo>
                  <a:pt x="1979" y="1098"/>
                </a:lnTo>
                <a:lnTo>
                  <a:pt x="1975" y="1098"/>
                </a:lnTo>
                <a:lnTo>
                  <a:pt x="1972" y="1098"/>
                </a:lnTo>
                <a:lnTo>
                  <a:pt x="1971" y="1098"/>
                </a:lnTo>
                <a:lnTo>
                  <a:pt x="1967" y="1098"/>
                </a:lnTo>
                <a:lnTo>
                  <a:pt x="1956" y="1098"/>
                </a:lnTo>
                <a:lnTo>
                  <a:pt x="1945" y="1094"/>
                </a:lnTo>
                <a:lnTo>
                  <a:pt x="1940" y="1088"/>
                </a:lnTo>
                <a:lnTo>
                  <a:pt x="1941" y="1080"/>
                </a:lnTo>
                <a:lnTo>
                  <a:pt x="1942" y="1073"/>
                </a:lnTo>
                <a:lnTo>
                  <a:pt x="1941" y="1066"/>
                </a:lnTo>
                <a:lnTo>
                  <a:pt x="1934" y="1060"/>
                </a:lnTo>
                <a:lnTo>
                  <a:pt x="1925" y="1052"/>
                </a:lnTo>
                <a:lnTo>
                  <a:pt x="1919" y="1042"/>
                </a:lnTo>
                <a:lnTo>
                  <a:pt x="1917" y="1034"/>
                </a:lnTo>
                <a:lnTo>
                  <a:pt x="1916" y="1026"/>
                </a:lnTo>
                <a:lnTo>
                  <a:pt x="1916" y="1019"/>
                </a:lnTo>
                <a:lnTo>
                  <a:pt x="1915" y="1013"/>
                </a:lnTo>
                <a:lnTo>
                  <a:pt x="1911" y="1008"/>
                </a:lnTo>
                <a:lnTo>
                  <a:pt x="1903" y="1004"/>
                </a:lnTo>
                <a:lnTo>
                  <a:pt x="1897" y="1004"/>
                </a:lnTo>
                <a:lnTo>
                  <a:pt x="1892" y="1004"/>
                </a:lnTo>
                <a:lnTo>
                  <a:pt x="1886" y="1005"/>
                </a:lnTo>
                <a:lnTo>
                  <a:pt x="1880" y="1007"/>
                </a:lnTo>
                <a:lnTo>
                  <a:pt x="1874" y="1008"/>
                </a:lnTo>
                <a:lnTo>
                  <a:pt x="1870" y="1009"/>
                </a:lnTo>
                <a:lnTo>
                  <a:pt x="1864" y="1009"/>
                </a:lnTo>
                <a:lnTo>
                  <a:pt x="1859" y="1008"/>
                </a:lnTo>
                <a:lnTo>
                  <a:pt x="1855" y="1008"/>
                </a:lnTo>
                <a:lnTo>
                  <a:pt x="1850" y="1009"/>
                </a:lnTo>
                <a:lnTo>
                  <a:pt x="1846" y="1012"/>
                </a:lnTo>
                <a:lnTo>
                  <a:pt x="1841" y="1015"/>
                </a:lnTo>
                <a:lnTo>
                  <a:pt x="1836" y="1018"/>
                </a:lnTo>
                <a:lnTo>
                  <a:pt x="1831" y="1022"/>
                </a:lnTo>
                <a:lnTo>
                  <a:pt x="1825" y="1023"/>
                </a:lnTo>
                <a:lnTo>
                  <a:pt x="1819" y="1023"/>
                </a:lnTo>
                <a:lnTo>
                  <a:pt x="1810" y="1023"/>
                </a:lnTo>
                <a:lnTo>
                  <a:pt x="1806" y="1025"/>
                </a:lnTo>
                <a:lnTo>
                  <a:pt x="1804" y="1031"/>
                </a:lnTo>
                <a:lnTo>
                  <a:pt x="1804" y="1039"/>
                </a:lnTo>
                <a:lnTo>
                  <a:pt x="1803" y="1047"/>
                </a:lnTo>
                <a:lnTo>
                  <a:pt x="1799" y="1053"/>
                </a:lnTo>
                <a:lnTo>
                  <a:pt x="1793" y="1056"/>
                </a:lnTo>
                <a:lnTo>
                  <a:pt x="1782" y="1057"/>
                </a:lnTo>
                <a:lnTo>
                  <a:pt x="1775" y="1057"/>
                </a:lnTo>
                <a:lnTo>
                  <a:pt x="1768" y="1056"/>
                </a:lnTo>
                <a:lnTo>
                  <a:pt x="1759" y="1056"/>
                </a:lnTo>
                <a:lnTo>
                  <a:pt x="1750" y="1055"/>
                </a:lnTo>
                <a:lnTo>
                  <a:pt x="1741" y="1054"/>
                </a:lnTo>
                <a:lnTo>
                  <a:pt x="1731" y="1053"/>
                </a:lnTo>
                <a:lnTo>
                  <a:pt x="1725" y="1052"/>
                </a:lnTo>
                <a:lnTo>
                  <a:pt x="1718" y="1050"/>
                </a:lnTo>
                <a:lnTo>
                  <a:pt x="1712" y="1048"/>
                </a:lnTo>
                <a:lnTo>
                  <a:pt x="1706" y="1045"/>
                </a:lnTo>
                <a:lnTo>
                  <a:pt x="1700" y="1040"/>
                </a:lnTo>
                <a:lnTo>
                  <a:pt x="1696" y="1034"/>
                </a:lnTo>
                <a:lnTo>
                  <a:pt x="1690" y="1028"/>
                </a:lnTo>
                <a:lnTo>
                  <a:pt x="1685" y="1022"/>
                </a:lnTo>
                <a:lnTo>
                  <a:pt x="1681" y="1016"/>
                </a:lnTo>
                <a:lnTo>
                  <a:pt x="1677" y="1011"/>
                </a:lnTo>
                <a:lnTo>
                  <a:pt x="1669" y="1000"/>
                </a:lnTo>
                <a:lnTo>
                  <a:pt x="1661" y="985"/>
                </a:lnTo>
                <a:lnTo>
                  <a:pt x="1655" y="970"/>
                </a:lnTo>
                <a:lnTo>
                  <a:pt x="1655" y="955"/>
                </a:lnTo>
                <a:lnTo>
                  <a:pt x="1658" y="942"/>
                </a:lnTo>
                <a:lnTo>
                  <a:pt x="1657" y="933"/>
                </a:lnTo>
                <a:lnTo>
                  <a:pt x="1653" y="929"/>
                </a:lnTo>
                <a:lnTo>
                  <a:pt x="1650" y="934"/>
                </a:lnTo>
                <a:lnTo>
                  <a:pt x="1644" y="939"/>
                </a:lnTo>
                <a:lnTo>
                  <a:pt x="1636" y="939"/>
                </a:lnTo>
                <a:lnTo>
                  <a:pt x="1625" y="934"/>
                </a:lnTo>
                <a:lnTo>
                  <a:pt x="1619" y="927"/>
                </a:lnTo>
                <a:lnTo>
                  <a:pt x="1613" y="923"/>
                </a:lnTo>
                <a:lnTo>
                  <a:pt x="1605" y="920"/>
                </a:lnTo>
                <a:lnTo>
                  <a:pt x="1598" y="924"/>
                </a:lnTo>
                <a:lnTo>
                  <a:pt x="1594" y="931"/>
                </a:lnTo>
                <a:lnTo>
                  <a:pt x="1592" y="940"/>
                </a:lnTo>
                <a:lnTo>
                  <a:pt x="1591" y="949"/>
                </a:lnTo>
                <a:lnTo>
                  <a:pt x="1592" y="959"/>
                </a:lnTo>
                <a:lnTo>
                  <a:pt x="1597" y="971"/>
                </a:lnTo>
                <a:lnTo>
                  <a:pt x="1602" y="986"/>
                </a:lnTo>
                <a:lnTo>
                  <a:pt x="1607" y="1004"/>
                </a:lnTo>
                <a:lnTo>
                  <a:pt x="1608" y="1022"/>
                </a:lnTo>
                <a:lnTo>
                  <a:pt x="1607" y="1035"/>
                </a:lnTo>
                <a:lnTo>
                  <a:pt x="1605" y="1041"/>
                </a:lnTo>
                <a:lnTo>
                  <a:pt x="1601" y="1049"/>
                </a:lnTo>
                <a:lnTo>
                  <a:pt x="1597" y="1058"/>
                </a:lnTo>
                <a:lnTo>
                  <a:pt x="1592" y="1069"/>
                </a:lnTo>
                <a:lnTo>
                  <a:pt x="1586" y="1079"/>
                </a:lnTo>
                <a:lnTo>
                  <a:pt x="1582" y="1088"/>
                </a:lnTo>
                <a:lnTo>
                  <a:pt x="1576" y="1096"/>
                </a:lnTo>
                <a:lnTo>
                  <a:pt x="1572" y="1103"/>
                </a:lnTo>
                <a:lnTo>
                  <a:pt x="1569" y="1109"/>
                </a:lnTo>
                <a:lnTo>
                  <a:pt x="1564" y="1115"/>
                </a:lnTo>
                <a:lnTo>
                  <a:pt x="1561" y="1121"/>
                </a:lnTo>
                <a:lnTo>
                  <a:pt x="1556" y="1126"/>
                </a:lnTo>
                <a:lnTo>
                  <a:pt x="1552" y="1132"/>
                </a:lnTo>
                <a:lnTo>
                  <a:pt x="1546" y="1138"/>
                </a:lnTo>
                <a:lnTo>
                  <a:pt x="1541" y="1142"/>
                </a:lnTo>
                <a:lnTo>
                  <a:pt x="1536" y="1147"/>
                </a:lnTo>
                <a:lnTo>
                  <a:pt x="1524" y="1154"/>
                </a:lnTo>
                <a:lnTo>
                  <a:pt x="1516" y="1160"/>
                </a:lnTo>
                <a:lnTo>
                  <a:pt x="1510" y="1168"/>
                </a:lnTo>
                <a:lnTo>
                  <a:pt x="1508" y="1177"/>
                </a:lnTo>
                <a:lnTo>
                  <a:pt x="1507" y="1191"/>
                </a:lnTo>
                <a:lnTo>
                  <a:pt x="1502" y="1207"/>
                </a:lnTo>
                <a:lnTo>
                  <a:pt x="1495" y="1220"/>
                </a:lnTo>
                <a:lnTo>
                  <a:pt x="1486" y="1227"/>
                </a:lnTo>
                <a:lnTo>
                  <a:pt x="1479" y="1231"/>
                </a:lnTo>
                <a:lnTo>
                  <a:pt x="1478" y="1239"/>
                </a:lnTo>
                <a:lnTo>
                  <a:pt x="1479" y="1245"/>
                </a:lnTo>
                <a:lnTo>
                  <a:pt x="1480" y="1248"/>
                </a:lnTo>
                <a:lnTo>
                  <a:pt x="1478" y="1252"/>
                </a:lnTo>
                <a:lnTo>
                  <a:pt x="1473" y="1260"/>
                </a:lnTo>
                <a:lnTo>
                  <a:pt x="1472" y="1271"/>
                </a:lnTo>
                <a:lnTo>
                  <a:pt x="1477" y="1285"/>
                </a:lnTo>
                <a:lnTo>
                  <a:pt x="1484" y="1296"/>
                </a:lnTo>
                <a:lnTo>
                  <a:pt x="1488" y="1303"/>
                </a:lnTo>
                <a:lnTo>
                  <a:pt x="1492" y="1306"/>
                </a:lnTo>
                <a:lnTo>
                  <a:pt x="1499" y="1311"/>
                </a:lnTo>
                <a:lnTo>
                  <a:pt x="1504" y="1315"/>
                </a:lnTo>
                <a:lnTo>
                  <a:pt x="1506" y="1320"/>
                </a:lnTo>
                <a:lnTo>
                  <a:pt x="1503" y="1326"/>
                </a:lnTo>
                <a:lnTo>
                  <a:pt x="1499" y="1331"/>
                </a:lnTo>
                <a:lnTo>
                  <a:pt x="1493" y="1341"/>
                </a:lnTo>
                <a:lnTo>
                  <a:pt x="1487" y="1351"/>
                </a:lnTo>
                <a:lnTo>
                  <a:pt x="1481" y="1362"/>
                </a:lnTo>
                <a:lnTo>
                  <a:pt x="1477" y="1372"/>
                </a:lnTo>
                <a:lnTo>
                  <a:pt x="1472" y="1377"/>
                </a:lnTo>
                <a:lnTo>
                  <a:pt x="1468" y="1380"/>
                </a:lnTo>
                <a:lnTo>
                  <a:pt x="1462" y="1380"/>
                </a:lnTo>
                <a:lnTo>
                  <a:pt x="1451" y="1379"/>
                </a:lnTo>
                <a:lnTo>
                  <a:pt x="1446" y="1377"/>
                </a:lnTo>
                <a:lnTo>
                  <a:pt x="1439" y="1375"/>
                </a:lnTo>
                <a:lnTo>
                  <a:pt x="1432" y="1374"/>
                </a:lnTo>
                <a:lnTo>
                  <a:pt x="1425" y="1373"/>
                </a:lnTo>
                <a:lnTo>
                  <a:pt x="1418" y="1372"/>
                </a:lnTo>
                <a:lnTo>
                  <a:pt x="1413" y="1371"/>
                </a:lnTo>
                <a:lnTo>
                  <a:pt x="1410" y="1369"/>
                </a:lnTo>
                <a:lnTo>
                  <a:pt x="1409" y="1369"/>
                </a:lnTo>
                <a:lnTo>
                  <a:pt x="1409" y="1367"/>
                </a:lnTo>
                <a:lnTo>
                  <a:pt x="1409" y="1361"/>
                </a:lnTo>
                <a:lnTo>
                  <a:pt x="1409" y="1352"/>
                </a:lnTo>
                <a:lnTo>
                  <a:pt x="1409" y="1341"/>
                </a:lnTo>
                <a:lnTo>
                  <a:pt x="1408" y="1328"/>
                </a:lnTo>
                <a:lnTo>
                  <a:pt x="1403" y="1314"/>
                </a:lnTo>
                <a:lnTo>
                  <a:pt x="1397" y="1301"/>
                </a:lnTo>
                <a:lnTo>
                  <a:pt x="1390" y="1292"/>
                </a:lnTo>
                <a:lnTo>
                  <a:pt x="1386" y="1288"/>
                </a:lnTo>
                <a:lnTo>
                  <a:pt x="1380" y="1283"/>
                </a:lnTo>
                <a:lnTo>
                  <a:pt x="1373" y="1278"/>
                </a:lnTo>
                <a:lnTo>
                  <a:pt x="1367" y="1273"/>
                </a:lnTo>
                <a:lnTo>
                  <a:pt x="1360" y="1268"/>
                </a:lnTo>
                <a:lnTo>
                  <a:pt x="1355" y="1265"/>
                </a:lnTo>
                <a:lnTo>
                  <a:pt x="1351" y="1262"/>
                </a:lnTo>
                <a:lnTo>
                  <a:pt x="1350" y="1261"/>
                </a:lnTo>
                <a:lnTo>
                  <a:pt x="1349" y="1259"/>
                </a:lnTo>
                <a:lnTo>
                  <a:pt x="1349" y="1252"/>
                </a:lnTo>
                <a:lnTo>
                  <a:pt x="1350" y="1243"/>
                </a:lnTo>
                <a:lnTo>
                  <a:pt x="1356" y="1233"/>
                </a:lnTo>
                <a:lnTo>
                  <a:pt x="1365" y="1223"/>
                </a:lnTo>
                <a:lnTo>
                  <a:pt x="1371" y="1213"/>
                </a:lnTo>
                <a:lnTo>
                  <a:pt x="1372" y="1206"/>
                </a:lnTo>
                <a:lnTo>
                  <a:pt x="1365" y="1202"/>
                </a:lnTo>
                <a:lnTo>
                  <a:pt x="1359" y="1202"/>
                </a:lnTo>
                <a:lnTo>
                  <a:pt x="1354" y="1201"/>
                </a:lnTo>
                <a:lnTo>
                  <a:pt x="1348" y="1199"/>
                </a:lnTo>
                <a:lnTo>
                  <a:pt x="1343" y="1198"/>
                </a:lnTo>
                <a:lnTo>
                  <a:pt x="1337" y="1197"/>
                </a:lnTo>
                <a:lnTo>
                  <a:pt x="1333" y="1194"/>
                </a:lnTo>
                <a:lnTo>
                  <a:pt x="1327" y="1193"/>
                </a:lnTo>
                <a:lnTo>
                  <a:pt x="1322" y="1193"/>
                </a:lnTo>
                <a:lnTo>
                  <a:pt x="1317" y="1192"/>
                </a:lnTo>
                <a:lnTo>
                  <a:pt x="1311" y="1191"/>
                </a:lnTo>
                <a:lnTo>
                  <a:pt x="1304" y="1187"/>
                </a:lnTo>
                <a:lnTo>
                  <a:pt x="1296" y="1184"/>
                </a:lnTo>
                <a:lnTo>
                  <a:pt x="1288" y="1180"/>
                </a:lnTo>
                <a:lnTo>
                  <a:pt x="1281" y="1177"/>
                </a:lnTo>
                <a:lnTo>
                  <a:pt x="1275" y="1174"/>
                </a:lnTo>
                <a:lnTo>
                  <a:pt x="1269" y="1171"/>
                </a:lnTo>
                <a:lnTo>
                  <a:pt x="1265" y="1168"/>
                </a:lnTo>
                <a:lnTo>
                  <a:pt x="1259" y="1161"/>
                </a:lnTo>
                <a:lnTo>
                  <a:pt x="1253" y="1153"/>
                </a:lnTo>
                <a:lnTo>
                  <a:pt x="1248" y="1144"/>
                </a:lnTo>
                <a:lnTo>
                  <a:pt x="1242" y="1133"/>
                </a:lnTo>
                <a:lnTo>
                  <a:pt x="1235" y="1125"/>
                </a:lnTo>
                <a:lnTo>
                  <a:pt x="1229" y="1117"/>
                </a:lnTo>
                <a:lnTo>
                  <a:pt x="1223" y="1113"/>
                </a:lnTo>
                <a:lnTo>
                  <a:pt x="1218" y="1109"/>
                </a:lnTo>
                <a:lnTo>
                  <a:pt x="1211" y="1107"/>
                </a:lnTo>
                <a:lnTo>
                  <a:pt x="1205" y="1103"/>
                </a:lnTo>
                <a:lnTo>
                  <a:pt x="1199" y="1100"/>
                </a:lnTo>
                <a:lnTo>
                  <a:pt x="1193" y="1096"/>
                </a:lnTo>
                <a:lnTo>
                  <a:pt x="1189" y="1093"/>
                </a:lnTo>
                <a:lnTo>
                  <a:pt x="1185" y="1087"/>
                </a:lnTo>
                <a:lnTo>
                  <a:pt x="1183" y="1081"/>
                </a:lnTo>
                <a:lnTo>
                  <a:pt x="1181" y="1068"/>
                </a:lnTo>
                <a:lnTo>
                  <a:pt x="1178" y="1054"/>
                </a:lnTo>
                <a:lnTo>
                  <a:pt x="1178" y="1040"/>
                </a:lnTo>
                <a:lnTo>
                  <a:pt x="1181" y="1026"/>
                </a:lnTo>
                <a:lnTo>
                  <a:pt x="1185" y="1012"/>
                </a:lnTo>
                <a:lnTo>
                  <a:pt x="1189" y="1000"/>
                </a:lnTo>
                <a:lnTo>
                  <a:pt x="1191" y="987"/>
                </a:lnTo>
                <a:lnTo>
                  <a:pt x="1192" y="973"/>
                </a:lnTo>
                <a:lnTo>
                  <a:pt x="1190" y="962"/>
                </a:lnTo>
                <a:lnTo>
                  <a:pt x="1185" y="955"/>
                </a:lnTo>
                <a:lnTo>
                  <a:pt x="1178" y="951"/>
                </a:lnTo>
                <a:lnTo>
                  <a:pt x="1171" y="952"/>
                </a:lnTo>
                <a:lnTo>
                  <a:pt x="1162" y="956"/>
                </a:lnTo>
                <a:lnTo>
                  <a:pt x="1152" y="961"/>
                </a:lnTo>
                <a:lnTo>
                  <a:pt x="1145" y="967"/>
                </a:lnTo>
                <a:lnTo>
                  <a:pt x="1143" y="977"/>
                </a:lnTo>
                <a:lnTo>
                  <a:pt x="1144" y="986"/>
                </a:lnTo>
                <a:lnTo>
                  <a:pt x="1143" y="995"/>
                </a:lnTo>
                <a:lnTo>
                  <a:pt x="1137" y="1002"/>
                </a:lnTo>
                <a:lnTo>
                  <a:pt x="1128" y="1008"/>
                </a:lnTo>
                <a:lnTo>
                  <a:pt x="1122" y="1010"/>
                </a:lnTo>
                <a:lnTo>
                  <a:pt x="1116" y="1013"/>
                </a:lnTo>
                <a:lnTo>
                  <a:pt x="1110" y="1018"/>
                </a:lnTo>
                <a:lnTo>
                  <a:pt x="1105" y="1023"/>
                </a:lnTo>
                <a:lnTo>
                  <a:pt x="1100" y="1027"/>
                </a:lnTo>
                <a:lnTo>
                  <a:pt x="1095" y="1032"/>
                </a:lnTo>
                <a:lnTo>
                  <a:pt x="1093" y="1037"/>
                </a:lnTo>
                <a:lnTo>
                  <a:pt x="1091" y="1041"/>
                </a:lnTo>
                <a:lnTo>
                  <a:pt x="1086" y="1049"/>
                </a:lnTo>
                <a:lnTo>
                  <a:pt x="1079" y="1055"/>
                </a:lnTo>
                <a:lnTo>
                  <a:pt x="1069" y="1058"/>
                </a:lnTo>
                <a:lnTo>
                  <a:pt x="1060" y="1060"/>
                </a:lnTo>
                <a:lnTo>
                  <a:pt x="1052" y="1061"/>
                </a:lnTo>
                <a:lnTo>
                  <a:pt x="1045" y="1065"/>
                </a:lnTo>
                <a:lnTo>
                  <a:pt x="1044" y="1072"/>
                </a:lnTo>
                <a:lnTo>
                  <a:pt x="1047" y="1081"/>
                </a:lnTo>
                <a:lnTo>
                  <a:pt x="1052" y="1088"/>
                </a:lnTo>
                <a:lnTo>
                  <a:pt x="1056" y="1095"/>
                </a:lnTo>
                <a:lnTo>
                  <a:pt x="1062" y="1102"/>
                </a:lnTo>
                <a:lnTo>
                  <a:pt x="1067" y="1109"/>
                </a:lnTo>
                <a:lnTo>
                  <a:pt x="1071" y="1116"/>
                </a:lnTo>
                <a:lnTo>
                  <a:pt x="1074" y="1123"/>
                </a:lnTo>
                <a:lnTo>
                  <a:pt x="1075" y="1129"/>
                </a:lnTo>
                <a:lnTo>
                  <a:pt x="1072" y="1134"/>
                </a:lnTo>
                <a:lnTo>
                  <a:pt x="1065" y="1144"/>
                </a:lnTo>
                <a:lnTo>
                  <a:pt x="1057" y="1153"/>
                </a:lnTo>
                <a:lnTo>
                  <a:pt x="1052" y="1162"/>
                </a:lnTo>
                <a:lnTo>
                  <a:pt x="1047" y="1171"/>
                </a:lnTo>
                <a:lnTo>
                  <a:pt x="1045" y="1180"/>
                </a:lnTo>
                <a:lnTo>
                  <a:pt x="1040" y="1186"/>
                </a:lnTo>
                <a:lnTo>
                  <a:pt x="1034" y="1190"/>
                </a:lnTo>
                <a:lnTo>
                  <a:pt x="1026" y="1190"/>
                </a:lnTo>
                <a:lnTo>
                  <a:pt x="1016" y="1190"/>
                </a:lnTo>
                <a:lnTo>
                  <a:pt x="1008" y="1193"/>
                </a:lnTo>
                <a:lnTo>
                  <a:pt x="1003" y="1202"/>
                </a:lnTo>
                <a:lnTo>
                  <a:pt x="1007" y="1215"/>
                </a:lnTo>
                <a:lnTo>
                  <a:pt x="1003" y="1218"/>
                </a:lnTo>
                <a:lnTo>
                  <a:pt x="997" y="1229"/>
                </a:lnTo>
                <a:lnTo>
                  <a:pt x="991" y="1240"/>
                </a:lnTo>
                <a:lnTo>
                  <a:pt x="986" y="1252"/>
                </a:lnTo>
                <a:lnTo>
                  <a:pt x="981" y="1260"/>
                </a:lnTo>
                <a:lnTo>
                  <a:pt x="976" y="1265"/>
                </a:lnTo>
                <a:lnTo>
                  <a:pt x="968" y="1268"/>
                </a:lnTo>
                <a:lnTo>
                  <a:pt x="958" y="1267"/>
                </a:lnTo>
                <a:lnTo>
                  <a:pt x="949" y="1265"/>
                </a:lnTo>
                <a:lnTo>
                  <a:pt x="941" y="1265"/>
                </a:lnTo>
                <a:lnTo>
                  <a:pt x="936" y="1269"/>
                </a:lnTo>
                <a:lnTo>
                  <a:pt x="934" y="1280"/>
                </a:lnTo>
                <a:lnTo>
                  <a:pt x="932" y="1292"/>
                </a:lnTo>
                <a:lnTo>
                  <a:pt x="925" y="1303"/>
                </a:lnTo>
                <a:lnTo>
                  <a:pt x="915" y="1309"/>
                </a:lnTo>
                <a:lnTo>
                  <a:pt x="901" y="1313"/>
                </a:lnTo>
                <a:lnTo>
                  <a:pt x="894" y="1314"/>
                </a:lnTo>
                <a:lnTo>
                  <a:pt x="887" y="1314"/>
                </a:lnTo>
                <a:lnTo>
                  <a:pt x="882" y="1314"/>
                </a:lnTo>
                <a:lnTo>
                  <a:pt x="878" y="1313"/>
                </a:lnTo>
                <a:lnTo>
                  <a:pt x="874" y="1312"/>
                </a:lnTo>
                <a:lnTo>
                  <a:pt x="870" y="1312"/>
                </a:lnTo>
                <a:lnTo>
                  <a:pt x="865" y="1311"/>
                </a:lnTo>
                <a:lnTo>
                  <a:pt x="860" y="1311"/>
                </a:lnTo>
                <a:lnTo>
                  <a:pt x="850" y="1309"/>
                </a:lnTo>
                <a:lnTo>
                  <a:pt x="841" y="1307"/>
                </a:lnTo>
                <a:lnTo>
                  <a:pt x="834" y="1304"/>
                </a:lnTo>
                <a:lnTo>
                  <a:pt x="829" y="1298"/>
                </a:lnTo>
                <a:lnTo>
                  <a:pt x="825" y="1292"/>
                </a:lnTo>
                <a:lnTo>
                  <a:pt x="819" y="1288"/>
                </a:lnTo>
                <a:lnTo>
                  <a:pt x="812" y="1286"/>
                </a:lnTo>
                <a:lnTo>
                  <a:pt x="805" y="1285"/>
                </a:lnTo>
                <a:lnTo>
                  <a:pt x="800" y="1285"/>
                </a:lnTo>
                <a:lnTo>
                  <a:pt x="797" y="1283"/>
                </a:lnTo>
                <a:lnTo>
                  <a:pt x="792" y="1282"/>
                </a:lnTo>
                <a:lnTo>
                  <a:pt x="788" y="1280"/>
                </a:lnTo>
                <a:lnTo>
                  <a:pt x="783" y="1277"/>
                </a:lnTo>
                <a:lnTo>
                  <a:pt x="779" y="1276"/>
                </a:lnTo>
                <a:lnTo>
                  <a:pt x="774" y="1275"/>
                </a:lnTo>
                <a:lnTo>
                  <a:pt x="771" y="1276"/>
                </a:lnTo>
                <a:lnTo>
                  <a:pt x="761" y="1280"/>
                </a:lnTo>
                <a:lnTo>
                  <a:pt x="752" y="1284"/>
                </a:lnTo>
                <a:lnTo>
                  <a:pt x="743" y="1288"/>
                </a:lnTo>
                <a:lnTo>
                  <a:pt x="739" y="1289"/>
                </a:lnTo>
                <a:lnTo>
                  <a:pt x="738" y="1292"/>
                </a:lnTo>
                <a:lnTo>
                  <a:pt x="734" y="1299"/>
                </a:lnTo>
                <a:lnTo>
                  <a:pt x="727" y="1307"/>
                </a:lnTo>
                <a:lnTo>
                  <a:pt x="718" y="1313"/>
                </a:lnTo>
                <a:lnTo>
                  <a:pt x="713" y="1315"/>
                </a:lnTo>
                <a:lnTo>
                  <a:pt x="708" y="1319"/>
                </a:lnTo>
                <a:lnTo>
                  <a:pt x="703" y="1321"/>
                </a:lnTo>
                <a:lnTo>
                  <a:pt x="697" y="1324"/>
                </a:lnTo>
                <a:lnTo>
                  <a:pt x="691" y="1326"/>
                </a:lnTo>
                <a:lnTo>
                  <a:pt x="685" y="1327"/>
                </a:lnTo>
                <a:lnTo>
                  <a:pt x="678" y="1327"/>
                </a:lnTo>
                <a:lnTo>
                  <a:pt x="671" y="1326"/>
                </a:lnTo>
                <a:lnTo>
                  <a:pt x="665" y="1324"/>
                </a:lnTo>
                <a:lnTo>
                  <a:pt x="659" y="1323"/>
                </a:lnTo>
                <a:lnTo>
                  <a:pt x="652" y="1324"/>
                </a:lnTo>
                <a:lnTo>
                  <a:pt x="647" y="1326"/>
                </a:lnTo>
                <a:lnTo>
                  <a:pt x="641" y="1328"/>
                </a:lnTo>
                <a:lnTo>
                  <a:pt x="637" y="1330"/>
                </a:lnTo>
                <a:lnTo>
                  <a:pt x="632" y="1333"/>
                </a:lnTo>
                <a:lnTo>
                  <a:pt x="629" y="1335"/>
                </a:lnTo>
                <a:lnTo>
                  <a:pt x="622" y="1339"/>
                </a:lnTo>
                <a:lnTo>
                  <a:pt x="616" y="1344"/>
                </a:lnTo>
                <a:lnTo>
                  <a:pt x="609" y="1349"/>
                </a:lnTo>
                <a:lnTo>
                  <a:pt x="601" y="1353"/>
                </a:lnTo>
                <a:lnTo>
                  <a:pt x="597" y="1356"/>
                </a:lnTo>
                <a:lnTo>
                  <a:pt x="593" y="1356"/>
                </a:lnTo>
                <a:lnTo>
                  <a:pt x="590" y="1356"/>
                </a:lnTo>
                <a:lnTo>
                  <a:pt x="586" y="1354"/>
                </a:lnTo>
                <a:lnTo>
                  <a:pt x="583" y="1353"/>
                </a:lnTo>
                <a:lnTo>
                  <a:pt x="578" y="1353"/>
                </a:lnTo>
                <a:lnTo>
                  <a:pt x="572" y="1352"/>
                </a:lnTo>
                <a:lnTo>
                  <a:pt x="567" y="1353"/>
                </a:lnTo>
                <a:lnTo>
                  <a:pt x="560" y="1353"/>
                </a:lnTo>
                <a:lnTo>
                  <a:pt x="554" y="1352"/>
                </a:lnTo>
                <a:lnTo>
                  <a:pt x="547" y="1350"/>
                </a:lnTo>
                <a:lnTo>
                  <a:pt x="542" y="1345"/>
                </a:lnTo>
                <a:lnTo>
                  <a:pt x="537" y="1341"/>
                </a:lnTo>
                <a:lnTo>
                  <a:pt x="533" y="1336"/>
                </a:lnTo>
                <a:lnTo>
                  <a:pt x="530" y="1330"/>
                </a:lnTo>
                <a:lnTo>
                  <a:pt x="526" y="1326"/>
                </a:lnTo>
                <a:lnTo>
                  <a:pt x="522" y="1316"/>
                </a:lnTo>
                <a:lnTo>
                  <a:pt x="517" y="1308"/>
                </a:lnTo>
                <a:lnTo>
                  <a:pt x="512" y="1300"/>
                </a:lnTo>
                <a:lnTo>
                  <a:pt x="508" y="1292"/>
                </a:lnTo>
                <a:lnTo>
                  <a:pt x="506" y="1285"/>
                </a:lnTo>
                <a:lnTo>
                  <a:pt x="504" y="1281"/>
                </a:lnTo>
                <a:lnTo>
                  <a:pt x="502" y="1275"/>
                </a:lnTo>
                <a:lnTo>
                  <a:pt x="495" y="1263"/>
                </a:lnTo>
                <a:lnTo>
                  <a:pt x="488" y="1248"/>
                </a:lnTo>
                <a:lnTo>
                  <a:pt x="481" y="1235"/>
                </a:lnTo>
                <a:lnTo>
                  <a:pt x="474" y="1224"/>
                </a:lnTo>
                <a:lnTo>
                  <a:pt x="465" y="1221"/>
                </a:lnTo>
                <a:lnTo>
                  <a:pt x="458" y="1220"/>
                </a:lnTo>
                <a:lnTo>
                  <a:pt x="451" y="1218"/>
                </a:lnTo>
                <a:lnTo>
                  <a:pt x="444" y="1215"/>
                </a:lnTo>
                <a:lnTo>
                  <a:pt x="439" y="1210"/>
                </a:lnTo>
                <a:lnTo>
                  <a:pt x="433" y="1206"/>
                </a:lnTo>
                <a:lnTo>
                  <a:pt x="429" y="1201"/>
                </a:lnTo>
                <a:lnTo>
                  <a:pt x="428" y="1195"/>
                </a:lnTo>
                <a:lnTo>
                  <a:pt x="431" y="1190"/>
                </a:lnTo>
                <a:lnTo>
                  <a:pt x="436" y="1180"/>
                </a:lnTo>
                <a:lnTo>
                  <a:pt x="440" y="1174"/>
                </a:lnTo>
                <a:lnTo>
                  <a:pt x="438" y="1169"/>
                </a:lnTo>
                <a:lnTo>
                  <a:pt x="427" y="1168"/>
                </a:lnTo>
                <a:lnTo>
                  <a:pt x="420" y="1167"/>
                </a:lnTo>
                <a:lnTo>
                  <a:pt x="412" y="1163"/>
                </a:lnTo>
                <a:lnTo>
                  <a:pt x="405" y="1159"/>
                </a:lnTo>
                <a:lnTo>
                  <a:pt x="398" y="1153"/>
                </a:lnTo>
                <a:lnTo>
                  <a:pt x="393" y="1146"/>
                </a:lnTo>
                <a:lnTo>
                  <a:pt x="389" y="1139"/>
                </a:lnTo>
                <a:lnTo>
                  <a:pt x="388" y="1133"/>
                </a:lnTo>
                <a:lnTo>
                  <a:pt x="390" y="1128"/>
                </a:lnTo>
                <a:lnTo>
                  <a:pt x="396" y="1121"/>
                </a:lnTo>
                <a:lnTo>
                  <a:pt x="401" y="1116"/>
                </a:lnTo>
                <a:lnTo>
                  <a:pt x="402" y="1110"/>
                </a:lnTo>
                <a:lnTo>
                  <a:pt x="403" y="1100"/>
                </a:lnTo>
                <a:lnTo>
                  <a:pt x="403" y="1090"/>
                </a:lnTo>
                <a:lnTo>
                  <a:pt x="404" y="1083"/>
                </a:lnTo>
                <a:lnTo>
                  <a:pt x="405" y="1078"/>
                </a:lnTo>
                <a:lnTo>
                  <a:pt x="409" y="1072"/>
                </a:lnTo>
                <a:lnTo>
                  <a:pt x="413" y="1064"/>
                </a:lnTo>
                <a:lnTo>
                  <a:pt x="416" y="1056"/>
                </a:lnTo>
                <a:lnTo>
                  <a:pt x="414" y="1048"/>
                </a:lnTo>
                <a:lnTo>
                  <a:pt x="409" y="1039"/>
                </a:lnTo>
                <a:lnTo>
                  <a:pt x="402" y="1027"/>
                </a:lnTo>
                <a:lnTo>
                  <a:pt x="397" y="1015"/>
                </a:lnTo>
                <a:lnTo>
                  <a:pt x="396" y="1002"/>
                </a:lnTo>
                <a:lnTo>
                  <a:pt x="397" y="992"/>
                </a:lnTo>
                <a:lnTo>
                  <a:pt x="401" y="984"/>
                </a:lnTo>
                <a:lnTo>
                  <a:pt x="403" y="977"/>
                </a:lnTo>
                <a:lnTo>
                  <a:pt x="403" y="971"/>
                </a:lnTo>
                <a:lnTo>
                  <a:pt x="394" y="964"/>
                </a:lnTo>
                <a:lnTo>
                  <a:pt x="386" y="961"/>
                </a:lnTo>
                <a:lnTo>
                  <a:pt x="374" y="957"/>
                </a:lnTo>
                <a:lnTo>
                  <a:pt x="361" y="954"/>
                </a:lnTo>
                <a:lnTo>
                  <a:pt x="349" y="950"/>
                </a:lnTo>
                <a:lnTo>
                  <a:pt x="335" y="948"/>
                </a:lnTo>
                <a:lnTo>
                  <a:pt x="323" y="946"/>
                </a:lnTo>
                <a:lnTo>
                  <a:pt x="314" y="943"/>
                </a:lnTo>
                <a:lnTo>
                  <a:pt x="307" y="943"/>
                </a:lnTo>
                <a:lnTo>
                  <a:pt x="303" y="943"/>
                </a:lnTo>
                <a:lnTo>
                  <a:pt x="297" y="943"/>
                </a:lnTo>
                <a:lnTo>
                  <a:pt x="292" y="943"/>
                </a:lnTo>
                <a:lnTo>
                  <a:pt x="287" y="943"/>
                </a:lnTo>
                <a:lnTo>
                  <a:pt x="281" y="944"/>
                </a:lnTo>
                <a:lnTo>
                  <a:pt x="275" y="946"/>
                </a:lnTo>
                <a:lnTo>
                  <a:pt x="269" y="948"/>
                </a:lnTo>
                <a:lnTo>
                  <a:pt x="264" y="952"/>
                </a:lnTo>
                <a:lnTo>
                  <a:pt x="258" y="957"/>
                </a:lnTo>
                <a:lnTo>
                  <a:pt x="250" y="961"/>
                </a:lnTo>
                <a:lnTo>
                  <a:pt x="243" y="964"/>
                </a:lnTo>
                <a:lnTo>
                  <a:pt x="235" y="966"/>
                </a:lnTo>
                <a:lnTo>
                  <a:pt x="226" y="969"/>
                </a:lnTo>
                <a:lnTo>
                  <a:pt x="217" y="971"/>
                </a:lnTo>
                <a:lnTo>
                  <a:pt x="209" y="972"/>
                </a:lnTo>
                <a:lnTo>
                  <a:pt x="202" y="973"/>
                </a:lnTo>
                <a:lnTo>
                  <a:pt x="196" y="975"/>
                </a:lnTo>
                <a:lnTo>
                  <a:pt x="189" y="979"/>
                </a:lnTo>
                <a:lnTo>
                  <a:pt x="183" y="984"/>
                </a:lnTo>
                <a:lnTo>
                  <a:pt x="177" y="988"/>
                </a:lnTo>
                <a:lnTo>
                  <a:pt x="171" y="993"/>
                </a:lnTo>
                <a:lnTo>
                  <a:pt x="167" y="997"/>
                </a:lnTo>
                <a:lnTo>
                  <a:pt x="162" y="1002"/>
                </a:lnTo>
                <a:lnTo>
                  <a:pt x="159" y="1004"/>
                </a:lnTo>
                <a:lnTo>
                  <a:pt x="152" y="1011"/>
                </a:lnTo>
                <a:lnTo>
                  <a:pt x="146" y="1023"/>
                </a:lnTo>
                <a:lnTo>
                  <a:pt x="144" y="1034"/>
                </a:lnTo>
                <a:lnTo>
                  <a:pt x="149" y="1045"/>
                </a:lnTo>
                <a:lnTo>
                  <a:pt x="154" y="1048"/>
                </a:lnTo>
                <a:lnTo>
                  <a:pt x="160" y="1050"/>
                </a:lnTo>
                <a:lnTo>
                  <a:pt x="166" y="1052"/>
                </a:lnTo>
                <a:lnTo>
                  <a:pt x="170" y="1053"/>
                </a:lnTo>
                <a:lnTo>
                  <a:pt x="175" y="1053"/>
                </a:lnTo>
                <a:lnTo>
                  <a:pt x="179" y="1053"/>
                </a:lnTo>
                <a:lnTo>
                  <a:pt x="182" y="1055"/>
                </a:lnTo>
                <a:lnTo>
                  <a:pt x="184" y="1057"/>
                </a:lnTo>
                <a:lnTo>
                  <a:pt x="185" y="1066"/>
                </a:lnTo>
                <a:lnTo>
                  <a:pt x="182" y="1078"/>
                </a:lnTo>
                <a:lnTo>
                  <a:pt x="175" y="1090"/>
                </a:lnTo>
                <a:lnTo>
                  <a:pt x="162" y="1100"/>
                </a:lnTo>
                <a:lnTo>
                  <a:pt x="154" y="1104"/>
                </a:lnTo>
                <a:lnTo>
                  <a:pt x="147" y="1108"/>
                </a:lnTo>
                <a:lnTo>
                  <a:pt x="140" y="1110"/>
                </a:lnTo>
                <a:lnTo>
                  <a:pt x="134" y="1113"/>
                </a:lnTo>
                <a:lnTo>
                  <a:pt x="130" y="1116"/>
                </a:lnTo>
                <a:lnTo>
                  <a:pt x="125" y="1118"/>
                </a:lnTo>
                <a:lnTo>
                  <a:pt x="122" y="1123"/>
                </a:lnTo>
                <a:lnTo>
                  <a:pt x="118" y="1128"/>
                </a:lnTo>
                <a:lnTo>
                  <a:pt x="111" y="1138"/>
                </a:lnTo>
                <a:lnTo>
                  <a:pt x="101" y="1146"/>
                </a:lnTo>
                <a:lnTo>
                  <a:pt x="92" y="1152"/>
                </a:lnTo>
                <a:lnTo>
                  <a:pt x="88" y="1153"/>
                </a:lnTo>
                <a:lnTo>
                  <a:pt x="87" y="1153"/>
                </a:lnTo>
                <a:lnTo>
                  <a:pt x="85" y="1151"/>
                </a:lnTo>
                <a:lnTo>
                  <a:pt x="80" y="1149"/>
                </a:lnTo>
                <a:lnTo>
                  <a:pt x="76" y="1147"/>
                </a:lnTo>
                <a:lnTo>
                  <a:pt x="70" y="1146"/>
                </a:lnTo>
                <a:lnTo>
                  <a:pt x="63" y="1145"/>
                </a:lnTo>
                <a:lnTo>
                  <a:pt x="56" y="1145"/>
                </a:lnTo>
                <a:lnTo>
                  <a:pt x="50" y="1147"/>
                </a:lnTo>
                <a:lnTo>
                  <a:pt x="45" y="1148"/>
                </a:lnTo>
                <a:lnTo>
                  <a:pt x="38" y="1149"/>
                </a:lnTo>
                <a:lnTo>
                  <a:pt x="30" y="1149"/>
                </a:lnTo>
                <a:lnTo>
                  <a:pt x="23" y="1148"/>
                </a:lnTo>
                <a:lnTo>
                  <a:pt x="16" y="1147"/>
                </a:lnTo>
                <a:lnTo>
                  <a:pt x="10" y="1145"/>
                </a:lnTo>
                <a:lnTo>
                  <a:pt x="5" y="1141"/>
                </a:lnTo>
                <a:lnTo>
                  <a:pt x="2" y="1137"/>
                </a:lnTo>
                <a:lnTo>
                  <a:pt x="0" y="1129"/>
                </a:lnTo>
                <a:lnTo>
                  <a:pt x="1" y="1121"/>
                </a:lnTo>
                <a:lnTo>
                  <a:pt x="2" y="1113"/>
                </a:lnTo>
                <a:lnTo>
                  <a:pt x="2" y="1103"/>
                </a:lnTo>
                <a:lnTo>
                  <a:pt x="3" y="1092"/>
                </a:lnTo>
                <a:lnTo>
                  <a:pt x="10" y="1080"/>
                </a:lnTo>
                <a:lnTo>
                  <a:pt x="20" y="1070"/>
                </a:lnTo>
                <a:lnTo>
                  <a:pt x="32" y="1066"/>
                </a:lnTo>
                <a:lnTo>
                  <a:pt x="38" y="1066"/>
                </a:lnTo>
                <a:lnTo>
                  <a:pt x="45" y="1066"/>
                </a:lnTo>
                <a:lnTo>
                  <a:pt x="50" y="1066"/>
                </a:lnTo>
                <a:lnTo>
                  <a:pt x="55" y="1066"/>
                </a:lnTo>
                <a:lnTo>
                  <a:pt x="60" y="1065"/>
                </a:lnTo>
                <a:lnTo>
                  <a:pt x="63" y="1064"/>
                </a:lnTo>
                <a:lnTo>
                  <a:pt x="65" y="1062"/>
                </a:lnTo>
                <a:lnTo>
                  <a:pt x="67" y="1057"/>
                </a:lnTo>
                <a:lnTo>
                  <a:pt x="67" y="1049"/>
                </a:lnTo>
                <a:lnTo>
                  <a:pt x="68" y="1042"/>
                </a:lnTo>
                <a:lnTo>
                  <a:pt x="70" y="1037"/>
                </a:lnTo>
                <a:lnTo>
                  <a:pt x="72" y="1030"/>
                </a:lnTo>
                <a:lnTo>
                  <a:pt x="77" y="1019"/>
                </a:lnTo>
                <a:lnTo>
                  <a:pt x="84" y="1005"/>
                </a:lnTo>
                <a:lnTo>
                  <a:pt x="86" y="993"/>
                </a:lnTo>
                <a:lnTo>
                  <a:pt x="79" y="982"/>
                </a:lnTo>
                <a:lnTo>
                  <a:pt x="69" y="972"/>
                </a:lnTo>
                <a:lnTo>
                  <a:pt x="64" y="958"/>
                </a:lnTo>
                <a:lnTo>
                  <a:pt x="63" y="941"/>
                </a:lnTo>
                <a:lnTo>
                  <a:pt x="63" y="925"/>
                </a:lnTo>
                <a:lnTo>
                  <a:pt x="64" y="911"/>
                </a:lnTo>
                <a:lnTo>
                  <a:pt x="69" y="899"/>
                </a:lnTo>
                <a:lnTo>
                  <a:pt x="75" y="891"/>
                </a:lnTo>
                <a:lnTo>
                  <a:pt x="81" y="885"/>
                </a:lnTo>
                <a:lnTo>
                  <a:pt x="87" y="879"/>
                </a:lnTo>
                <a:lnTo>
                  <a:pt x="91" y="873"/>
                </a:lnTo>
                <a:lnTo>
                  <a:pt x="90" y="868"/>
                </a:lnTo>
                <a:lnTo>
                  <a:pt x="85" y="863"/>
                </a:lnTo>
                <a:lnTo>
                  <a:pt x="80" y="855"/>
                </a:lnTo>
                <a:lnTo>
                  <a:pt x="79" y="844"/>
                </a:lnTo>
                <a:lnTo>
                  <a:pt x="83" y="834"/>
                </a:lnTo>
                <a:lnTo>
                  <a:pt x="91" y="826"/>
                </a:lnTo>
                <a:lnTo>
                  <a:pt x="99" y="820"/>
                </a:lnTo>
                <a:lnTo>
                  <a:pt x="111" y="810"/>
                </a:lnTo>
                <a:lnTo>
                  <a:pt x="128" y="797"/>
                </a:lnTo>
                <a:lnTo>
                  <a:pt x="145" y="782"/>
                </a:lnTo>
                <a:lnTo>
                  <a:pt x="162" y="767"/>
                </a:lnTo>
                <a:lnTo>
                  <a:pt x="178" y="754"/>
                </a:lnTo>
                <a:lnTo>
                  <a:pt x="192" y="743"/>
                </a:lnTo>
                <a:lnTo>
                  <a:pt x="202" y="736"/>
                </a:lnTo>
                <a:lnTo>
                  <a:pt x="211" y="731"/>
                </a:lnTo>
                <a:lnTo>
                  <a:pt x="217" y="728"/>
                </a:lnTo>
                <a:lnTo>
                  <a:pt x="223" y="724"/>
                </a:lnTo>
                <a:lnTo>
                  <a:pt x="229" y="722"/>
                </a:lnTo>
                <a:lnTo>
                  <a:pt x="232" y="720"/>
                </a:lnTo>
                <a:lnTo>
                  <a:pt x="235" y="716"/>
                </a:lnTo>
                <a:lnTo>
                  <a:pt x="236" y="713"/>
                </a:lnTo>
                <a:lnTo>
                  <a:pt x="236" y="708"/>
                </a:lnTo>
                <a:lnTo>
                  <a:pt x="235" y="699"/>
                </a:lnTo>
                <a:lnTo>
                  <a:pt x="236" y="690"/>
                </a:lnTo>
                <a:lnTo>
                  <a:pt x="238" y="681"/>
                </a:lnTo>
                <a:lnTo>
                  <a:pt x="243" y="669"/>
                </a:lnTo>
                <a:lnTo>
                  <a:pt x="246" y="656"/>
                </a:lnTo>
                <a:lnTo>
                  <a:pt x="249" y="646"/>
                </a:lnTo>
                <a:lnTo>
                  <a:pt x="247" y="638"/>
                </a:lnTo>
                <a:lnTo>
                  <a:pt x="243" y="632"/>
                </a:lnTo>
                <a:lnTo>
                  <a:pt x="238" y="623"/>
                </a:lnTo>
                <a:lnTo>
                  <a:pt x="239" y="610"/>
                </a:lnTo>
                <a:lnTo>
                  <a:pt x="243" y="597"/>
                </a:lnTo>
                <a:lnTo>
                  <a:pt x="249" y="586"/>
                </a:lnTo>
                <a:lnTo>
                  <a:pt x="252" y="583"/>
                </a:lnTo>
                <a:lnTo>
                  <a:pt x="257" y="579"/>
                </a:lnTo>
                <a:lnTo>
                  <a:pt x="261" y="576"/>
                </a:lnTo>
                <a:lnTo>
                  <a:pt x="266" y="574"/>
                </a:lnTo>
                <a:lnTo>
                  <a:pt x="272" y="571"/>
                </a:lnTo>
                <a:lnTo>
                  <a:pt x="277" y="569"/>
                </a:lnTo>
                <a:lnTo>
                  <a:pt x="283" y="568"/>
                </a:lnTo>
                <a:lnTo>
                  <a:pt x="289" y="568"/>
                </a:lnTo>
                <a:lnTo>
                  <a:pt x="295" y="568"/>
                </a:lnTo>
                <a:lnTo>
                  <a:pt x="302" y="565"/>
                </a:lnTo>
                <a:lnTo>
                  <a:pt x="310" y="564"/>
                </a:lnTo>
                <a:lnTo>
                  <a:pt x="317" y="561"/>
                </a:lnTo>
                <a:lnTo>
                  <a:pt x="325" y="556"/>
                </a:lnTo>
                <a:lnTo>
                  <a:pt x="330" y="552"/>
                </a:lnTo>
                <a:lnTo>
                  <a:pt x="336" y="546"/>
                </a:lnTo>
                <a:lnTo>
                  <a:pt x="341" y="539"/>
                </a:lnTo>
                <a:lnTo>
                  <a:pt x="345" y="532"/>
                </a:lnTo>
                <a:lnTo>
                  <a:pt x="351" y="524"/>
                </a:lnTo>
                <a:lnTo>
                  <a:pt x="358" y="515"/>
                </a:lnTo>
                <a:lnTo>
                  <a:pt x="366" y="507"/>
                </a:lnTo>
                <a:lnTo>
                  <a:pt x="373" y="499"/>
                </a:lnTo>
                <a:lnTo>
                  <a:pt x="380" y="492"/>
                </a:lnTo>
                <a:lnTo>
                  <a:pt x="386" y="485"/>
                </a:lnTo>
                <a:lnTo>
                  <a:pt x="390" y="480"/>
                </a:lnTo>
                <a:lnTo>
                  <a:pt x="395" y="477"/>
                </a:lnTo>
                <a:lnTo>
                  <a:pt x="399" y="473"/>
                </a:lnTo>
                <a:lnTo>
                  <a:pt x="406" y="471"/>
                </a:lnTo>
                <a:lnTo>
                  <a:pt x="413" y="468"/>
                </a:lnTo>
                <a:lnTo>
                  <a:pt x="419" y="464"/>
                </a:lnTo>
                <a:lnTo>
                  <a:pt x="426" y="461"/>
                </a:lnTo>
                <a:lnTo>
                  <a:pt x="431" y="457"/>
                </a:lnTo>
                <a:lnTo>
                  <a:pt x="434" y="453"/>
                </a:lnTo>
                <a:lnTo>
                  <a:pt x="438" y="447"/>
                </a:lnTo>
                <a:lnTo>
                  <a:pt x="442" y="440"/>
                </a:lnTo>
                <a:lnTo>
                  <a:pt x="448" y="432"/>
                </a:lnTo>
                <a:lnTo>
                  <a:pt x="454" y="424"/>
                </a:lnTo>
                <a:lnTo>
                  <a:pt x="461" y="415"/>
                </a:lnTo>
                <a:lnTo>
                  <a:pt x="467" y="407"/>
                </a:lnTo>
                <a:lnTo>
                  <a:pt x="472" y="400"/>
                </a:lnTo>
                <a:lnTo>
                  <a:pt x="477" y="394"/>
                </a:lnTo>
                <a:lnTo>
                  <a:pt x="481" y="382"/>
                </a:lnTo>
                <a:lnTo>
                  <a:pt x="482" y="370"/>
                </a:lnTo>
                <a:lnTo>
                  <a:pt x="485" y="359"/>
                </a:lnTo>
                <a:lnTo>
                  <a:pt x="493" y="355"/>
                </a:lnTo>
                <a:lnTo>
                  <a:pt x="499" y="354"/>
                </a:lnTo>
                <a:lnTo>
                  <a:pt x="506" y="352"/>
                </a:lnTo>
                <a:lnTo>
                  <a:pt x="512" y="349"/>
                </a:lnTo>
                <a:lnTo>
                  <a:pt x="518" y="346"/>
                </a:lnTo>
                <a:lnTo>
                  <a:pt x="524" y="341"/>
                </a:lnTo>
                <a:lnTo>
                  <a:pt x="529" y="337"/>
                </a:lnTo>
                <a:lnTo>
                  <a:pt x="532" y="333"/>
                </a:lnTo>
                <a:lnTo>
                  <a:pt x="533" y="329"/>
                </a:lnTo>
                <a:lnTo>
                  <a:pt x="530" y="324"/>
                </a:lnTo>
                <a:lnTo>
                  <a:pt x="522" y="320"/>
                </a:lnTo>
                <a:lnTo>
                  <a:pt x="511" y="320"/>
                </a:lnTo>
                <a:lnTo>
                  <a:pt x="502" y="324"/>
                </a:lnTo>
                <a:lnTo>
                  <a:pt x="496" y="325"/>
                </a:lnTo>
                <a:lnTo>
                  <a:pt x="492" y="324"/>
                </a:lnTo>
                <a:lnTo>
                  <a:pt x="486" y="321"/>
                </a:lnTo>
                <a:lnTo>
                  <a:pt x="477" y="324"/>
                </a:lnTo>
                <a:lnTo>
                  <a:pt x="471" y="325"/>
                </a:lnTo>
                <a:lnTo>
                  <a:pt x="464" y="326"/>
                </a:lnTo>
                <a:lnTo>
                  <a:pt x="458" y="326"/>
                </a:lnTo>
                <a:lnTo>
                  <a:pt x="453" y="325"/>
                </a:lnTo>
                <a:lnTo>
                  <a:pt x="448" y="321"/>
                </a:lnTo>
                <a:lnTo>
                  <a:pt x="446" y="318"/>
                </a:lnTo>
                <a:lnTo>
                  <a:pt x="446" y="312"/>
                </a:lnTo>
                <a:lnTo>
                  <a:pt x="449" y="305"/>
                </a:lnTo>
                <a:lnTo>
                  <a:pt x="453" y="297"/>
                </a:lnTo>
                <a:lnTo>
                  <a:pt x="457" y="287"/>
                </a:lnTo>
                <a:lnTo>
                  <a:pt x="464" y="276"/>
                </a:lnTo>
                <a:lnTo>
                  <a:pt x="474" y="265"/>
                </a:lnTo>
                <a:lnTo>
                  <a:pt x="484" y="255"/>
                </a:lnTo>
                <a:lnTo>
                  <a:pt x="491" y="249"/>
                </a:lnTo>
                <a:lnTo>
                  <a:pt x="494" y="243"/>
                </a:lnTo>
                <a:lnTo>
                  <a:pt x="495" y="237"/>
                </a:lnTo>
                <a:lnTo>
                  <a:pt x="496" y="234"/>
                </a:lnTo>
                <a:lnTo>
                  <a:pt x="499" y="229"/>
                </a:lnTo>
                <a:lnTo>
                  <a:pt x="502" y="223"/>
                </a:lnTo>
                <a:lnTo>
                  <a:pt x="508" y="219"/>
                </a:lnTo>
                <a:lnTo>
                  <a:pt x="515" y="215"/>
                </a:lnTo>
                <a:lnTo>
                  <a:pt x="522" y="213"/>
                </a:lnTo>
                <a:lnTo>
                  <a:pt x="530" y="213"/>
                </a:lnTo>
                <a:lnTo>
                  <a:pt x="539" y="215"/>
                </a:lnTo>
                <a:lnTo>
                  <a:pt x="548" y="218"/>
                </a:lnTo>
                <a:lnTo>
                  <a:pt x="556" y="218"/>
                </a:lnTo>
                <a:lnTo>
                  <a:pt x="565" y="217"/>
                </a:lnTo>
                <a:lnTo>
                  <a:pt x="573" y="214"/>
                </a:lnTo>
                <a:lnTo>
                  <a:pt x="580" y="213"/>
                </a:lnTo>
                <a:lnTo>
                  <a:pt x="588" y="213"/>
                </a:lnTo>
                <a:lnTo>
                  <a:pt x="595" y="214"/>
                </a:lnTo>
                <a:lnTo>
                  <a:pt x="601" y="219"/>
                </a:lnTo>
                <a:lnTo>
                  <a:pt x="606" y="225"/>
                </a:lnTo>
                <a:lnTo>
                  <a:pt x="609" y="230"/>
                </a:lnTo>
                <a:lnTo>
                  <a:pt x="613" y="236"/>
                </a:lnTo>
                <a:lnTo>
                  <a:pt x="615" y="242"/>
                </a:lnTo>
                <a:lnTo>
                  <a:pt x="618" y="246"/>
                </a:lnTo>
                <a:lnTo>
                  <a:pt x="623" y="251"/>
                </a:lnTo>
                <a:lnTo>
                  <a:pt x="629" y="253"/>
                </a:lnTo>
                <a:lnTo>
                  <a:pt x="638" y="256"/>
                </a:lnTo>
                <a:lnTo>
                  <a:pt x="647" y="257"/>
                </a:lnTo>
                <a:lnTo>
                  <a:pt x="655" y="257"/>
                </a:lnTo>
                <a:lnTo>
                  <a:pt x="662" y="257"/>
                </a:lnTo>
                <a:lnTo>
                  <a:pt x="669" y="257"/>
                </a:lnTo>
                <a:lnTo>
                  <a:pt x="674" y="257"/>
                </a:lnTo>
                <a:lnTo>
                  <a:pt x="679" y="256"/>
                </a:lnTo>
                <a:lnTo>
                  <a:pt x="684" y="256"/>
                </a:lnTo>
                <a:lnTo>
                  <a:pt x="690" y="256"/>
                </a:lnTo>
                <a:lnTo>
                  <a:pt x="700" y="255"/>
                </a:lnTo>
                <a:lnTo>
                  <a:pt x="706" y="252"/>
                </a:lnTo>
                <a:lnTo>
                  <a:pt x="708" y="246"/>
                </a:lnTo>
                <a:lnTo>
                  <a:pt x="706" y="237"/>
                </a:lnTo>
                <a:lnTo>
                  <a:pt x="705" y="226"/>
                </a:lnTo>
                <a:lnTo>
                  <a:pt x="709" y="218"/>
                </a:lnTo>
                <a:lnTo>
                  <a:pt x="719" y="214"/>
                </a:lnTo>
                <a:lnTo>
                  <a:pt x="730" y="215"/>
                </a:lnTo>
                <a:lnTo>
                  <a:pt x="742" y="213"/>
                </a:lnTo>
                <a:lnTo>
                  <a:pt x="751" y="200"/>
                </a:lnTo>
                <a:lnTo>
                  <a:pt x="757" y="184"/>
                </a:lnTo>
                <a:lnTo>
                  <a:pt x="761" y="172"/>
                </a:lnTo>
                <a:lnTo>
                  <a:pt x="764" y="168"/>
                </a:lnTo>
                <a:lnTo>
                  <a:pt x="767" y="165"/>
                </a:lnTo>
                <a:lnTo>
                  <a:pt x="772" y="161"/>
                </a:lnTo>
                <a:lnTo>
                  <a:pt x="776" y="159"/>
                </a:lnTo>
                <a:lnTo>
                  <a:pt x="782" y="158"/>
                </a:lnTo>
                <a:lnTo>
                  <a:pt x="788" y="155"/>
                </a:lnTo>
                <a:lnTo>
                  <a:pt x="794" y="154"/>
                </a:lnTo>
                <a:lnTo>
                  <a:pt x="798" y="153"/>
                </a:lnTo>
                <a:lnTo>
                  <a:pt x="804" y="152"/>
                </a:lnTo>
                <a:lnTo>
                  <a:pt x="811" y="150"/>
                </a:lnTo>
                <a:lnTo>
                  <a:pt x="819" y="149"/>
                </a:lnTo>
                <a:lnTo>
                  <a:pt x="827" y="147"/>
                </a:lnTo>
                <a:lnTo>
                  <a:pt x="833" y="149"/>
                </a:lnTo>
                <a:lnTo>
                  <a:pt x="837" y="151"/>
                </a:lnTo>
                <a:lnTo>
                  <a:pt x="840" y="155"/>
                </a:lnTo>
                <a:lnTo>
                  <a:pt x="838" y="162"/>
                </a:lnTo>
                <a:lnTo>
                  <a:pt x="835" y="177"/>
                </a:lnTo>
                <a:lnTo>
                  <a:pt x="838" y="185"/>
                </a:lnTo>
                <a:lnTo>
                  <a:pt x="845" y="188"/>
                </a:lnTo>
                <a:lnTo>
                  <a:pt x="853" y="184"/>
                </a:lnTo>
                <a:lnTo>
                  <a:pt x="858" y="182"/>
                </a:lnTo>
                <a:lnTo>
                  <a:pt x="863" y="180"/>
                </a:lnTo>
                <a:lnTo>
                  <a:pt x="867" y="176"/>
                </a:lnTo>
                <a:lnTo>
                  <a:pt x="871" y="174"/>
                </a:lnTo>
                <a:lnTo>
                  <a:pt x="875" y="170"/>
                </a:lnTo>
                <a:lnTo>
                  <a:pt x="880" y="168"/>
                </a:lnTo>
                <a:lnTo>
                  <a:pt x="886" y="165"/>
                </a:lnTo>
                <a:lnTo>
                  <a:pt x="891" y="162"/>
                </a:lnTo>
                <a:lnTo>
                  <a:pt x="898" y="160"/>
                </a:lnTo>
                <a:lnTo>
                  <a:pt x="906" y="159"/>
                </a:lnTo>
                <a:lnTo>
                  <a:pt x="916" y="157"/>
                </a:lnTo>
                <a:lnTo>
                  <a:pt x="925" y="157"/>
                </a:lnTo>
                <a:lnTo>
                  <a:pt x="934" y="157"/>
                </a:lnTo>
                <a:lnTo>
                  <a:pt x="941" y="158"/>
                </a:lnTo>
                <a:lnTo>
                  <a:pt x="946" y="161"/>
                </a:lnTo>
                <a:lnTo>
                  <a:pt x="948" y="166"/>
                </a:lnTo>
                <a:lnTo>
                  <a:pt x="949" y="170"/>
                </a:lnTo>
                <a:lnTo>
                  <a:pt x="953" y="173"/>
                </a:lnTo>
                <a:lnTo>
                  <a:pt x="958" y="174"/>
                </a:lnTo>
                <a:lnTo>
                  <a:pt x="965" y="173"/>
                </a:lnTo>
                <a:lnTo>
                  <a:pt x="972" y="172"/>
                </a:lnTo>
                <a:lnTo>
                  <a:pt x="981" y="170"/>
                </a:lnTo>
                <a:lnTo>
                  <a:pt x="989" y="169"/>
                </a:lnTo>
                <a:lnTo>
                  <a:pt x="997" y="169"/>
                </a:lnTo>
                <a:lnTo>
                  <a:pt x="1006" y="168"/>
                </a:lnTo>
                <a:lnTo>
                  <a:pt x="1014" y="166"/>
                </a:lnTo>
                <a:lnTo>
                  <a:pt x="1022" y="162"/>
                </a:lnTo>
                <a:lnTo>
                  <a:pt x="1029" y="158"/>
                </a:lnTo>
                <a:lnTo>
                  <a:pt x="1036" y="154"/>
                </a:lnTo>
                <a:lnTo>
                  <a:pt x="1041" y="151"/>
                </a:lnTo>
                <a:lnTo>
                  <a:pt x="1047" y="149"/>
                </a:lnTo>
                <a:lnTo>
                  <a:pt x="1051" y="147"/>
                </a:lnTo>
                <a:lnTo>
                  <a:pt x="1054" y="146"/>
                </a:lnTo>
                <a:lnTo>
                  <a:pt x="1059" y="145"/>
                </a:lnTo>
                <a:lnTo>
                  <a:pt x="1064" y="142"/>
                </a:lnTo>
                <a:lnTo>
                  <a:pt x="1071" y="139"/>
                </a:lnTo>
                <a:lnTo>
                  <a:pt x="1078" y="137"/>
                </a:lnTo>
                <a:lnTo>
                  <a:pt x="1086" y="136"/>
                </a:lnTo>
                <a:lnTo>
                  <a:pt x="1094" y="136"/>
                </a:lnTo>
                <a:lnTo>
                  <a:pt x="1104" y="138"/>
                </a:lnTo>
                <a:lnTo>
                  <a:pt x="1113" y="142"/>
                </a:lnTo>
                <a:lnTo>
                  <a:pt x="1122" y="146"/>
                </a:lnTo>
                <a:lnTo>
                  <a:pt x="1130" y="151"/>
                </a:lnTo>
                <a:lnTo>
                  <a:pt x="1139" y="155"/>
                </a:lnTo>
                <a:lnTo>
                  <a:pt x="1147" y="160"/>
                </a:lnTo>
                <a:lnTo>
                  <a:pt x="1154" y="162"/>
                </a:lnTo>
                <a:lnTo>
                  <a:pt x="1161" y="165"/>
                </a:lnTo>
                <a:lnTo>
                  <a:pt x="1168" y="166"/>
                </a:lnTo>
                <a:lnTo>
                  <a:pt x="1180" y="165"/>
                </a:lnTo>
                <a:lnTo>
                  <a:pt x="1188" y="161"/>
                </a:lnTo>
                <a:lnTo>
                  <a:pt x="1192" y="154"/>
                </a:lnTo>
                <a:lnTo>
                  <a:pt x="1190" y="144"/>
                </a:lnTo>
                <a:lnTo>
                  <a:pt x="1183" y="135"/>
                </a:lnTo>
                <a:lnTo>
                  <a:pt x="1178" y="129"/>
                </a:lnTo>
                <a:lnTo>
                  <a:pt x="1174" y="124"/>
                </a:lnTo>
                <a:lnTo>
                  <a:pt x="1171" y="116"/>
                </a:lnTo>
                <a:lnTo>
                  <a:pt x="1168" y="106"/>
                </a:lnTo>
                <a:lnTo>
                  <a:pt x="1166" y="93"/>
                </a:lnTo>
                <a:lnTo>
                  <a:pt x="1168" y="79"/>
                </a:lnTo>
                <a:lnTo>
                  <a:pt x="1177" y="64"/>
                </a:lnTo>
                <a:lnTo>
                  <a:pt x="1184" y="56"/>
                </a:lnTo>
                <a:lnTo>
                  <a:pt x="1191" y="50"/>
                </a:lnTo>
                <a:lnTo>
                  <a:pt x="1198" y="43"/>
                </a:lnTo>
                <a:lnTo>
                  <a:pt x="1204" y="37"/>
                </a:lnTo>
                <a:lnTo>
                  <a:pt x="1211" y="32"/>
                </a:lnTo>
                <a:lnTo>
                  <a:pt x="1216" y="29"/>
                </a:lnTo>
                <a:lnTo>
                  <a:pt x="1222" y="25"/>
                </a:lnTo>
                <a:lnTo>
                  <a:pt x="1227" y="24"/>
                </a:lnTo>
                <a:lnTo>
                  <a:pt x="1233" y="21"/>
                </a:lnTo>
                <a:lnTo>
                  <a:pt x="1236" y="14"/>
                </a:lnTo>
                <a:lnTo>
                  <a:pt x="1241" y="7"/>
                </a:lnTo>
                <a:lnTo>
                  <a:pt x="1246" y="1"/>
                </a:lnTo>
                <a:lnTo>
                  <a:pt x="1248" y="1"/>
                </a:lnTo>
                <a:lnTo>
                  <a:pt x="1249" y="0"/>
                </a:lnTo>
                <a:lnTo>
                  <a:pt x="1251" y="0"/>
                </a:lnTo>
                <a:lnTo>
                  <a:pt x="1252" y="0"/>
                </a:lnTo>
                <a:lnTo>
                  <a:pt x="1254" y="0"/>
                </a:lnTo>
                <a:lnTo>
                  <a:pt x="1256" y="1"/>
                </a:lnTo>
                <a:lnTo>
                  <a:pt x="1258" y="1"/>
                </a:lnTo>
                <a:lnTo>
                  <a:pt x="1260" y="2"/>
                </a:lnTo>
                <a:lnTo>
                  <a:pt x="1269" y="6"/>
                </a:lnTo>
                <a:lnTo>
                  <a:pt x="1277" y="8"/>
                </a:lnTo>
                <a:lnTo>
                  <a:pt x="1284" y="12"/>
                </a:lnTo>
                <a:lnTo>
                  <a:pt x="1290" y="14"/>
                </a:lnTo>
                <a:lnTo>
                  <a:pt x="1297" y="18"/>
                </a:lnTo>
                <a:lnTo>
                  <a:pt x="1303" y="22"/>
                </a:lnTo>
                <a:lnTo>
                  <a:pt x="1310" y="28"/>
                </a:lnTo>
                <a:lnTo>
                  <a:pt x="1317" y="33"/>
                </a:lnTo>
                <a:lnTo>
                  <a:pt x="1327" y="45"/>
                </a:lnTo>
                <a:lnTo>
                  <a:pt x="1330" y="53"/>
                </a:lnTo>
                <a:lnTo>
                  <a:pt x="1330" y="60"/>
                </a:lnTo>
                <a:lnTo>
                  <a:pt x="1328" y="67"/>
                </a:lnTo>
                <a:lnTo>
                  <a:pt x="1328" y="73"/>
                </a:lnTo>
                <a:lnTo>
                  <a:pt x="1330" y="76"/>
                </a:lnTo>
                <a:lnTo>
                  <a:pt x="1334" y="78"/>
                </a:lnTo>
                <a:lnTo>
                  <a:pt x="1335" y="79"/>
                </a:lnTo>
                <a:lnTo>
                  <a:pt x="1337" y="75"/>
                </a:lnTo>
                <a:lnTo>
                  <a:pt x="1342" y="67"/>
                </a:lnTo>
                <a:lnTo>
                  <a:pt x="1351" y="60"/>
                </a:lnTo>
                <a:lnTo>
                  <a:pt x="1363" y="61"/>
                </a:lnTo>
                <a:lnTo>
                  <a:pt x="1375" y="68"/>
                </a:lnTo>
                <a:lnTo>
                  <a:pt x="1383" y="74"/>
                </a:lnTo>
                <a:lnTo>
                  <a:pt x="1389" y="82"/>
                </a:lnTo>
                <a:lnTo>
                  <a:pt x="1390" y="92"/>
                </a:lnTo>
                <a:lnTo>
                  <a:pt x="1393" y="100"/>
                </a:lnTo>
                <a:lnTo>
                  <a:pt x="1400" y="104"/>
                </a:lnTo>
                <a:lnTo>
                  <a:pt x="1407" y="103"/>
                </a:lnTo>
                <a:lnTo>
                  <a:pt x="1415" y="101"/>
                </a:lnTo>
                <a:lnTo>
                  <a:pt x="1419" y="100"/>
                </a:lnTo>
                <a:lnTo>
                  <a:pt x="1424" y="98"/>
                </a:lnTo>
                <a:lnTo>
                  <a:pt x="1431" y="94"/>
                </a:lnTo>
                <a:lnTo>
                  <a:pt x="1439" y="92"/>
                </a:lnTo>
                <a:lnTo>
                  <a:pt x="1447" y="90"/>
                </a:lnTo>
                <a:lnTo>
                  <a:pt x="1455" y="89"/>
                </a:lnTo>
                <a:lnTo>
                  <a:pt x="1464" y="88"/>
                </a:lnTo>
                <a:lnTo>
                  <a:pt x="1473" y="89"/>
                </a:lnTo>
                <a:lnTo>
                  <a:pt x="1483" y="90"/>
                </a:lnTo>
                <a:lnTo>
                  <a:pt x="1492" y="92"/>
                </a:lnTo>
                <a:lnTo>
                  <a:pt x="1501" y="94"/>
                </a:lnTo>
                <a:lnTo>
                  <a:pt x="1509" y="97"/>
                </a:lnTo>
                <a:lnTo>
                  <a:pt x="1517" y="98"/>
                </a:lnTo>
                <a:lnTo>
                  <a:pt x="1524" y="100"/>
                </a:lnTo>
                <a:lnTo>
                  <a:pt x="1530" y="101"/>
                </a:lnTo>
                <a:lnTo>
                  <a:pt x="1536" y="101"/>
                </a:lnTo>
                <a:lnTo>
                  <a:pt x="1540" y="101"/>
                </a:lnTo>
                <a:lnTo>
                  <a:pt x="1546" y="100"/>
                </a:lnTo>
                <a:lnTo>
                  <a:pt x="1551" y="100"/>
                </a:lnTo>
                <a:lnTo>
                  <a:pt x="1556" y="99"/>
                </a:lnTo>
                <a:lnTo>
                  <a:pt x="1562" y="100"/>
                </a:lnTo>
                <a:lnTo>
                  <a:pt x="1569" y="101"/>
                </a:lnTo>
                <a:lnTo>
                  <a:pt x="1575" y="104"/>
                </a:lnTo>
                <a:lnTo>
                  <a:pt x="1582" y="107"/>
                </a:lnTo>
                <a:lnTo>
                  <a:pt x="1590" y="112"/>
                </a:lnTo>
                <a:lnTo>
                  <a:pt x="1598" y="116"/>
                </a:lnTo>
                <a:lnTo>
                  <a:pt x="1608" y="121"/>
                </a:lnTo>
                <a:lnTo>
                  <a:pt x="1620" y="127"/>
                </a:lnTo>
                <a:lnTo>
                  <a:pt x="1632" y="132"/>
                </a:lnTo>
                <a:lnTo>
                  <a:pt x="1645" y="141"/>
                </a:lnTo>
                <a:lnTo>
                  <a:pt x="1659" y="150"/>
                </a:lnTo>
                <a:lnTo>
                  <a:pt x="1674" y="160"/>
                </a:lnTo>
                <a:lnTo>
                  <a:pt x="1688" y="170"/>
                </a:lnTo>
                <a:lnTo>
                  <a:pt x="1698" y="180"/>
                </a:lnTo>
                <a:lnTo>
                  <a:pt x="1706" y="188"/>
                </a:lnTo>
                <a:lnTo>
                  <a:pt x="1712" y="195"/>
                </a:lnTo>
                <a:lnTo>
                  <a:pt x="1716" y="200"/>
                </a:lnTo>
                <a:lnTo>
                  <a:pt x="1720" y="206"/>
                </a:lnTo>
                <a:lnTo>
                  <a:pt x="1723" y="211"/>
                </a:lnTo>
                <a:lnTo>
                  <a:pt x="1727" y="215"/>
                </a:lnTo>
                <a:lnTo>
                  <a:pt x="1731" y="220"/>
                </a:lnTo>
                <a:lnTo>
                  <a:pt x="1736" y="225"/>
                </a:lnTo>
                <a:lnTo>
                  <a:pt x="1742" y="229"/>
                </a:lnTo>
                <a:lnTo>
                  <a:pt x="1748" y="234"/>
                </a:lnTo>
                <a:lnTo>
                  <a:pt x="1753" y="238"/>
                </a:lnTo>
                <a:lnTo>
                  <a:pt x="1757" y="243"/>
                </a:lnTo>
                <a:lnTo>
                  <a:pt x="1760" y="248"/>
                </a:lnTo>
                <a:lnTo>
                  <a:pt x="1761" y="252"/>
                </a:lnTo>
                <a:lnTo>
                  <a:pt x="1761" y="261"/>
                </a:lnTo>
                <a:lnTo>
                  <a:pt x="1761" y="269"/>
                </a:lnTo>
                <a:lnTo>
                  <a:pt x="1763" y="278"/>
                </a:lnTo>
                <a:lnTo>
                  <a:pt x="1767" y="287"/>
                </a:lnTo>
                <a:lnTo>
                  <a:pt x="1772" y="296"/>
                </a:lnTo>
                <a:lnTo>
                  <a:pt x="1772" y="304"/>
                </a:lnTo>
                <a:lnTo>
                  <a:pt x="1766" y="311"/>
                </a:lnTo>
                <a:lnTo>
                  <a:pt x="1755" y="317"/>
                </a:lnTo>
                <a:lnTo>
                  <a:pt x="1744" y="326"/>
                </a:lnTo>
                <a:lnTo>
                  <a:pt x="1737" y="341"/>
                </a:lnTo>
                <a:lnTo>
                  <a:pt x="1733" y="356"/>
                </a:lnTo>
                <a:lnTo>
                  <a:pt x="1727" y="366"/>
                </a:lnTo>
                <a:lnTo>
                  <a:pt x="1719" y="371"/>
                </a:lnTo>
                <a:lnTo>
                  <a:pt x="1711" y="374"/>
                </a:lnTo>
                <a:lnTo>
                  <a:pt x="1703" y="382"/>
                </a:lnTo>
                <a:lnTo>
                  <a:pt x="1696" y="397"/>
                </a:lnTo>
                <a:lnTo>
                  <a:pt x="1692" y="417"/>
                </a:lnTo>
                <a:lnTo>
                  <a:pt x="1691" y="435"/>
                </a:lnTo>
                <a:lnTo>
                  <a:pt x="1692" y="450"/>
                </a:lnTo>
                <a:lnTo>
                  <a:pt x="1699" y="462"/>
                </a:lnTo>
                <a:lnTo>
                  <a:pt x="1705" y="472"/>
                </a:lnTo>
                <a:lnTo>
                  <a:pt x="1705" y="485"/>
                </a:lnTo>
                <a:lnTo>
                  <a:pt x="1705" y="496"/>
                </a:lnTo>
                <a:lnTo>
                  <a:pt x="1708" y="506"/>
                </a:lnTo>
                <a:lnTo>
                  <a:pt x="1713" y="508"/>
                </a:lnTo>
                <a:lnTo>
                  <a:pt x="1719" y="508"/>
                </a:lnTo>
                <a:lnTo>
                  <a:pt x="1726" y="507"/>
                </a:lnTo>
                <a:lnTo>
                  <a:pt x="1734" y="506"/>
                </a:lnTo>
                <a:lnTo>
                  <a:pt x="1742" y="504"/>
                </a:lnTo>
                <a:lnTo>
                  <a:pt x="1749" y="503"/>
                </a:lnTo>
                <a:lnTo>
                  <a:pt x="1756" y="503"/>
                </a:lnTo>
                <a:lnTo>
                  <a:pt x="1761" y="506"/>
                </a:lnTo>
                <a:lnTo>
                  <a:pt x="1767" y="511"/>
                </a:lnTo>
                <a:lnTo>
                  <a:pt x="1772" y="516"/>
                </a:lnTo>
                <a:lnTo>
                  <a:pt x="1780" y="519"/>
                </a:lnTo>
                <a:lnTo>
                  <a:pt x="1795" y="521"/>
                </a:lnTo>
                <a:lnTo>
                  <a:pt x="1804" y="522"/>
                </a:lnTo>
                <a:lnTo>
                  <a:pt x="1812" y="524"/>
                </a:lnTo>
                <a:lnTo>
                  <a:pt x="1818" y="529"/>
                </a:lnTo>
                <a:lnTo>
                  <a:pt x="1824" y="533"/>
                </a:lnTo>
                <a:lnTo>
                  <a:pt x="1827" y="537"/>
                </a:lnTo>
                <a:lnTo>
                  <a:pt x="1832" y="540"/>
                </a:lnTo>
                <a:lnTo>
                  <a:pt x="1835" y="542"/>
                </a:lnTo>
                <a:lnTo>
                  <a:pt x="1839" y="542"/>
                </a:lnTo>
                <a:lnTo>
                  <a:pt x="1847" y="539"/>
                </a:lnTo>
                <a:lnTo>
                  <a:pt x="1857" y="538"/>
                </a:lnTo>
                <a:lnTo>
                  <a:pt x="1865" y="540"/>
                </a:lnTo>
                <a:lnTo>
                  <a:pt x="1869" y="552"/>
                </a:lnTo>
                <a:lnTo>
                  <a:pt x="1869" y="568"/>
                </a:lnTo>
                <a:lnTo>
                  <a:pt x="1870" y="582"/>
                </a:lnTo>
                <a:lnTo>
                  <a:pt x="1875" y="594"/>
                </a:lnTo>
                <a:lnTo>
                  <a:pt x="1890" y="605"/>
                </a:lnTo>
                <a:lnTo>
                  <a:pt x="1900" y="608"/>
                </a:lnTo>
                <a:lnTo>
                  <a:pt x="1909" y="612"/>
                </a:lnTo>
                <a:lnTo>
                  <a:pt x="1916" y="615"/>
                </a:lnTo>
                <a:lnTo>
                  <a:pt x="1924" y="618"/>
                </a:lnTo>
                <a:lnTo>
                  <a:pt x="1930" y="622"/>
                </a:lnTo>
                <a:lnTo>
                  <a:pt x="1937" y="625"/>
                </a:lnTo>
                <a:lnTo>
                  <a:pt x="1942" y="630"/>
                </a:lnTo>
                <a:lnTo>
                  <a:pt x="1949" y="636"/>
                </a:lnTo>
                <a:lnTo>
                  <a:pt x="1956" y="640"/>
                </a:lnTo>
                <a:lnTo>
                  <a:pt x="1963" y="644"/>
                </a:lnTo>
                <a:lnTo>
                  <a:pt x="1969" y="645"/>
                </a:lnTo>
                <a:lnTo>
                  <a:pt x="1976" y="645"/>
                </a:lnTo>
                <a:lnTo>
                  <a:pt x="1981" y="644"/>
                </a:lnTo>
                <a:lnTo>
                  <a:pt x="1987" y="643"/>
                </a:lnTo>
                <a:lnTo>
                  <a:pt x="1993" y="640"/>
                </a:lnTo>
                <a:lnTo>
                  <a:pt x="1999" y="638"/>
                </a:lnTo>
                <a:lnTo>
                  <a:pt x="2009" y="629"/>
                </a:lnTo>
                <a:lnTo>
                  <a:pt x="2017" y="615"/>
                </a:lnTo>
                <a:lnTo>
                  <a:pt x="2024" y="601"/>
                </a:lnTo>
                <a:lnTo>
                  <a:pt x="2032" y="595"/>
                </a:lnTo>
                <a:lnTo>
                  <a:pt x="2040" y="594"/>
                </a:lnTo>
                <a:lnTo>
                  <a:pt x="2045" y="590"/>
                </a:lnTo>
                <a:lnTo>
                  <a:pt x="2049" y="582"/>
                </a:lnTo>
                <a:lnTo>
                  <a:pt x="2058" y="570"/>
                </a:lnTo>
                <a:lnTo>
                  <a:pt x="2063" y="563"/>
                </a:lnTo>
                <a:lnTo>
                  <a:pt x="2070" y="557"/>
                </a:lnTo>
                <a:lnTo>
                  <a:pt x="2078" y="553"/>
                </a:lnTo>
                <a:lnTo>
                  <a:pt x="2087" y="548"/>
                </a:lnTo>
                <a:lnTo>
                  <a:pt x="2096" y="546"/>
                </a:lnTo>
                <a:lnTo>
                  <a:pt x="2104" y="545"/>
                </a:lnTo>
                <a:lnTo>
                  <a:pt x="2111" y="546"/>
                </a:lnTo>
                <a:lnTo>
                  <a:pt x="2116" y="548"/>
                </a:lnTo>
                <a:lnTo>
                  <a:pt x="2124" y="559"/>
                </a:lnTo>
                <a:lnTo>
                  <a:pt x="2131" y="570"/>
                </a:lnTo>
                <a:lnTo>
                  <a:pt x="2138" y="580"/>
                </a:lnTo>
                <a:lnTo>
                  <a:pt x="2150" y="586"/>
                </a:lnTo>
                <a:lnTo>
                  <a:pt x="2153" y="586"/>
                </a:lnTo>
                <a:lnTo>
                  <a:pt x="2155" y="587"/>
                </a:lnTo>
                <a:lnTo>
                  <a:pt x="2157" y="590"/>
                </a:lnTo>
                <a:lnTo>
                  <a:pt x="2158" y="592"/>
                </a:lnTo>
                <a:lnTo>
                  <a:pt x="2157" y="600"/>
                </a:lnTo>
                <a:lnTo>
                  <a:pt x="2153" y="609"/>
                </a:lnTo>
                <a:lnTo>
                  <a:pt x="2150" y="620"/>
                </a:lnTo>
                <a:lnTo>
                  <a:pt x="2147" y="629"/>
                </a:lnTo>
                <a:lnTo>
                  <a:pt x="2147" y="640"/>
                </a:lnTo>
                <a:lnTo>
                  <a:pt x="2147" y="651"/>
                </a:lnTo>
                <a:lnTo>
                  <a:pt x="2145" y="662"/>
                </a:lnTo>
                <a:lnTo>
                  <a:pt x="2140" y="678"/>
                </a:lnTo>
                <a:lnTo>
                  <a:pt x="2137" y="691"/>
                </a:lnTo>
                <a:lnTo>
                  <a:pt x="2137" y="697"/>
                </a:lnTo>
                <a:lnTo>
                  <a:pt x="2138" y="704"/>
                </a:lnTo>
                <a:lnTo>
                  <a:pt x="2138" y="718"/>
                </a:lnTo>
                <a:lnTo>
                  <a:pt x="2135" y="736"/>
                </a:lnTo>
                <a:lnTo>
                  <a:pt x="2130" y="749"/>
                </a:lnTo>
                <a:lnTo>
                  <a:pt x="2127" y="758"/>
                </a:lnTo>
                <a:lnTo>
                  <a:pt x="2126" y="760"/>
                </a:lnTo>
                <a:close/>
              </a:path>
            </a:pathLst>
          </a:custGeom>
          <a:solidFill>
            <a:schemeClr val="accent1"/>
          </a:solidFill>
          <a:ln w="12700">
            <a:solidFill>
              <a:schemeClr val="bg1"/>
            </a:solidFill>
            <a:round/>
            <a:headEnd/>
            <a:tailEnd/>
          </a:ln>
        </p:spPr>
        <p:txBody>
          <a:bodyPr/>
          <a:lstStyle/>
          <a:p>
            <a:pPr>
              <a:defRPr/>
            </a:pPr>
            <a:endParaRPr lang="en-US"/>
          </a:p>
        </p:txBody>
      </p:sp>
      <p:grpSp>
        <p:nvGrpSpPr>
          <p:cNvPr id="7" name="Group 8"/>
          <p:cNvGrpSpPr>
            <a:grpSpLocks noChangeAspect="1"/>
          </p:cNvGrpSpPr>
          <p:nvPr/>
        </p:nvGrpSpPr>
        <p:grpSpPr bwMode="gray">
          <a:xfrm>
            <a:off x="6440368" y="2743201"/>
            <a:ext cx="3843703" cy="2066925"/>
            <a:chOff x="3178" y="1504"/>
            <a:chExt cx="2826" cy="1403"/>
          </a:xfrm>
          <a:solidFill>
            <a:schemeClr val="accent1"/>
          </a:solidFill>
        </p:grpSpPr>
        <p:sp>
          <p:nvSpPr>
            <p:cNvPr id="8" name="Freeform 9"/>
            <p:cNvSpPr>
              <a:spLocks noChangeAspect="1"/>
            </p:cNvSpPr>
            <p:nvPr/>
          </p:nvSpPr>
          <p:spPr bwMode="gray">
            <a:xfrm>
              <a:off x="3178" y="2198"/>
              <a:ext cx="265" cy="411"/>
            </a:xfrm>
            <a:custGeom>
              <a:avLst/>
              <a:gdLst>
                <a:gd name="T0" fmla="*/ 241 w 530"/>
                <a:gd name="T1" fmla="*/ 0 h 823"/>
                <a:gd name="T2" fmla="*/ 129 w 530"/>
                <a:gd name="T3" fmla="*/ 68 h 823"/>
                <a:gd name="T4" fmla="*/ 63 w 530"/>
                <a:gd name="T5" fmla="*/ 43 h 823"/>
                <a:gd name="T6" fmla="*/ 112 w 530"/>
                <a:gd name="T7" fmla="*/ 222 h 823"/>
                <a:gd name="T8" fmla="*/ 0 w 530"/>
                <a:gd name="T9" fmla="*/ 323 h 823"/>
                <a:gd name="T10" fmla="*/ 55 w 530"/>
                <a:gd name="T11" fmla="*/ 498 h 823"/>
                <a:gd name="T12" fmla="*/ 23 w 530"/>
                <a:gd name="T13" fmla="*/ 568 h 823"/>
                <a:gd name="T14" fmla="*/ 234 w 530"/>
                <a:gd name="T15" fmla="*/ 642 h 823"/>
                <a:gd name="T16" fmla="*/ 230 w 530"/>
                <a:gd name="T17" fmla="*/ 701 h 823"/>
                <a:gd name="T18" fmla="*/ 388 w 530"/>
                <a:gd name="T19" fmla="*/ 823 h 823"/>
                <a:gd name="T20" fmla="*/ 426 w 530"/>
                <a:gd name="T21" fmla="*/ 802 h 823"/>
                <a:gd name="T22" fmla="*/ 407 w 530"/>
                <a:gd name="T23" fmla="*/ 728 h 823"/>
                <a:gd name="T24" fmla="*/ 430 w 530"/>
                <a:gd name="T25" fmla="*/ 551 h 823"/>
                <a:gd name="T26" fmla="*/ 508 w 530"/>
                <a:gd name="T27" fmla="*/ 513 h 823"/>
                <a:gd name="T28" fmla="*/ 519 w 530"/>
                <a:gd name="T29" fmla="*/ 458 h 823"/>
                <a:gd name="T30" fmla="*/ 491 w 530"/>
                <a:gd name="T31" fmla="*/ 357 h 823"/>
                <a:gd name="T32" fmla="*/ 530 w 530"/>
                <a:gd name="T33" fmla="*/ 222 h 823"/>
                <a:gd name="T34" fmla="*/ 454 w 530"/>
                <a:gd name="T35" fmla="*/ 251 h 823"/>
                <a:gd name="T36" fmla="*/ 422 w 530"/>
                <a:gd name="T37" fmla="*/ 155 h 823"/>
                <a:gd name="T38" fmla="*/ 348 w 530"/>
                <a:gd name="T39" fmla="*/ 47 h 823"/>
                <a:gd name="T40" fmla="*/ 262 w 530"/>
                <a:gd name="T41" fmla="*/ 53 h 823"/>
                <a:gd name="T42" fmla="*/ 241 w 530"/>
                <a:gd name="T43" fmla="*/ 0 h 823"/>
                <a:gd name="T44" fmla="*/ 241 w 530"/>
                <a:gd name="T45" fmla="*/ 0 h 823"/>
                <a:gd name="T46" fmla="*/ 241 w 530"/>
                <a:gd name="T47" fmla="*/ 0 h 8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0"/>
                <a:gd name="T73" fmla="*/ 0 h 823"/>
                <a:gd name="T74" fmla="*/ 530 w 530"/>
                <a:gd name="T75" fmla="*/ 823 h 8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0" h="823">
                  <a:moveTo>
                    <a:pt x="241" y="0"/>
                  </a:moveTo>
                  <a:lnTo>
                    <a:pt x="129" y="68"/>
                  </a:lnTo>
                  <a:lnTo>
                    <a:pt x="63" y="43"/>
                  </a:lnTo>
                  <a:lnTo>
                    <a:pt x="112" y="222"/>
                  </a:lnTo>
                  <a:lnTo>
                    <a:pt x="0" y="323"/>
                  </a:lnTo>
                  <a:lnTo>
                    <a:pt x="55" y="498"/>
                  </a:lnTo>
                  <a:lnTo>
                    <a:pt x="23" y="568"/>
                  </a:lnTo>
                  <a:lnTo>
                    <a:pt x="234" y="642"/>
                  </a:lnTo>
                  <a:lnTo>
                    <a:pt x="230" y="701"/>
                  </a:lnTo>
                  <a:lnTo>
                    <a:pt x="388" y="823"/>
                  </a:lnTo>
                  <a:lnTo>
                    <a:pt x="426" y="802"/>
                  </a:lnTo>
                  <a:lnTo>
                    <a:pt x="407" y="728"/>
                  </a:lnTo>
                  <a:lnTo>
                    <a:pt x="430" y="551"/>
                  </a:lnTo>
                  <a:lnTo>
                    <a:pt x="508" y="513"/>
                  </a:lnTo>
                  <a:lnTo>
                    <a:pt x="519" y="458"/>
                  </a:lnTo>
                  <a:lnTo>
                    <a:pt x="491" y="357"/>
                  </a:lnTo>
                  <a:lnTo>
                    <a:pt x="530" y="222"/>
                  </a:lnTo>
                  <a:lnTo>
                    <a:pt x="454" y="251"/>
                  </a:lnTo>
                  <a:lnTo>
                    <a:pt x="422" y="155"/>
                  </a:lnTo>
                  <a:lnTo>
                    <a:pt x="348" y="47"/>
                  </a:lnTo>
                  <a:lnTo>
                    <a:pt x="262" y="53"/>
                  </a:lnTo>
                  <a:lnTo>
                    <a:pt x="241" y="0"/>
                  </a:lnTo>
                  <a:close/>
                </a:path>
              </a:pathLst>
            </a:custGeom>
            <a:grpFill/>
            <a:ln w="12700">
              <a:solidFill>
                <a:schemeClr val="bg1"/>
              </a:solidFill>
              <a:round/>
              <a:headEnd/>
              <a:tailEnd/>
            </a:ln>
          </p:spPr>
          <p:txBody>
            <a:bodyPr/>
            <a:lstStyle/>
            <a:p>
              <a:pPr>
                <a:defRPr/>
              </a:pPr>
              <a:endParaRPr lang="en-US"/>
            </a:p>
          </p:txBody>
        </p:sp>
        <p:sp>
          <p:nvSpPr>
            <p:cNvPr id="9" name="Freeform 10"/>
            <p:cNvSpPr>
              <a:spLocks noChangeAspect="1"/>
            </p:cNvSpPr>
            <p:nvPr/>
          </p:nvSpPr>
          <p:spPr bwMode="gray">
            <a:xfrm>
              <a:off x="3381" y="2179"/>
              <a:ext cx="961" cy="479"/>
            </a:xfrm>
            <a:custGeom>
              <a:avLst/>
              <a:gdLst>
                <a:gd name="T0" fmla="*/ 300 w 1922"/>
                <a:gd name="T1" fmla="*/ 70 h 958"/>
                <a:gd name="T2" fmla="*/ 276 w 1922"/>
                <a:gd name="T3" fmla="*/ 106 h 958"/>
                <a:gd name="T4" fmla="*/ 295 w 1922"/>
                <a:gd name="T5" fmla="*/ 230 h 958"/>
                <a:gd name="T6" fmla="*/ 281 w 1922"/>
                <a:gd name="T7" fmla="*/ 273 h 958"/>
                <a:gd name="T8" fmla="*/ 217 w 1922"/>
                <a:gd name="T9" fmla="*/ 289 h 958"/>
                <a:gd name="T10" fmla="*/ 142 w 1922"/>
                <a:gd name="T11" fmla="*/ 403 h 958"/>
                <a:gd name="T12" fmla="*/ 87 w 1922"/>
                <a:gd name="T13" fmla="*/ 403 h 958"/>
                <a:gd name="T14" fmla="*/ 110 w 1922"/>
                <a:gd name="T15" fmla="*/ 501 h 958"/>
                <a:gd name="T16" fmla="*/ 101 w 1922"/>
                <a:gd name="T17" fmla="*/ 545 h 958"/>
                <a:gd name="T18" fmla="*/ 23 w 1922"/>
                <a:gd name="T19" fmla="*/ 589 h 958"/>
                <a:gd name="T20" fmla="*/ 0 w 1922"/>
                <a:gd name="T21" fmla="*/ 766 h 958"/>
                <a:gd name="T22" fmla="*/ 17 w 1922"/>
                <a:gd name="T23" fmla="*/ 836 h 958"/>
                <a:gd name="T24" fmla="*/ 205 w 1922"/>
                <a:gd name="T25" fmla="*/ 712 h 958"/>
                <a:gd name="T26" fmla="*/ 281 w 1922"/>
                <a:gd name="T27" fmla="*/ 773 h 958"/>
                <a:gd name="T28" fmla="*/ 253 w 1922"/>
                <a:gd name="T29" fmla="*/ 868 h 958"/>
                <a:gd name="T30" fmla="*/ 464 w 1922"/>
                <a:gd name="T31" fmla="*/ 887 h 958"/>
                <a:gd name="T32" fmla="*/ 460 w 1922"/>
                <a:gd name="T33" fmla="*/ 939 h 958"/>
                <a:gd name="T34" fmla="*/ 625 w 1922"/>
                <a:gd name="T35" fmla="*/ 958 h 958"/>
                <a:gd name="T36" fmla="*/ 789 w 1922"/>
                <a:gd name="T37" fmla="*/ 764 h 958"/>
                <a:gd name="T38" fmla="*/ 962 w 1922"/>
                <a:gd name="T39" fmla="*/ 764 h 958"/>
                <a:gd name="T40" fmla="*/ 996 w 1922"/>
                <a:gd name="T41" fmla="*/ 739 h 958"/>
                <a:gd name="T42" fmla="*/ 1241 w 1922"/>
                <a:gd name="T43" fmla="*/ 794 h 958"/>
                <a:gd name="T44" fmla="*/ 1441 w 1922"/>
                <a:gd name="T45" fmla="*/ 699 h 958"/>
                <a:gd name="T46" fmla="*/ 1494 w 1922"/>
                <a:gd name="T47" fmla="*/ 699 h 958"/>
                <a:gd name="T48" fmla="*/ 1449 w 1922"/>
                <a:gd name="T49" fmla="*/ 600 h 958"/>
                <a:gd name="T50" fmla="*/ 1471 w 1922"/>
                <a:gd name="T51" fmla="*/ 462 h 958"/>
                <a:gd name="T52" fmla="*/ 1741 w 1922"/>
                <a:gd name="T53" fmla="*/ 433 h 958"/>
                <a:gd name="T54" fmla="*/ 1772 w 1922"/>
                <a:gd name="T55" fmla="*/ 391 h 958"/>
                <a:gd name="T56" fmla="*/ 1922 w 1922"/>
                <a:gd name="T57" fmla="*/ 344 h 958"/>
                <a:gd name="T58" fmla="*/ 1895 w 1922"/>
                <a:gd name="T59" fmla="*/ 165 h 958"/>
                <a:gd name="T60" fmla="*/ 1852 w 1922"/>
                <a:gd name="T61" fmla="*/ 117 h 958"/>
                <a:gd name="T62" fmla="*/ 1802 w 1922"/>
                <a:gd name="T63" fmla="*/ 116 h 958"/>
                <a:gd name="T64" fmla="*/ 1732 w 1922"/>
                <a:gd name="T65" fmla="*/ 36 h 958"/>
                <a:gd name="T66" fmla="*/ 1622 w 1922"/>
                <a:gd name="T67" fmla="*/ 0 h 958"/>
                <a:gd name="T68" fmla="*/ 1546 w 1922"/>
                <a:gd name="T69" fmla="*/ 30 h 958"/>
                <a:gd name="T70" fmla="*/ 1589 w 1922"/>
                <a:gd name="T71" fmla="*/ 123 h 958"/>
                <a:gd name="T72" fmla="*/ 1397 w 1922"/>
                <a:gd name="T73" fmla="*/ 106 h 958"/>
                <a:gd name="T74" fmla="*/ 1144 w 1922"/>
                <a:gd name="T75" fmla="*/ 133 h 958"/>
                <a:gd name="T76" fmla="*/ 983 w 1922"/>
                <a:gd name="T77" fmla="*/ 213 h 958"/>
                <a:gd name="T78" fmla="*/ 988 w 1922"/>
                <a:gd name="T79" fmla="*/ 268 h 958"/>
                <a:gd name="T80" fmla="*/ 880 w 1922"/>
                <a:gd name="T81" fmla="*/ 319 h 958"/>
                <a:gd name="T82" fmla="*/ 874 w 1922"/>
                <a:gd name="T83" fmla="*/ 277 h 958"/>
                <a:gd name="T84" fmla="*/ 703 w 1922"/>
                <a:gd name="T85" fmla="*/ 313 h 958"/>
                <a:gd name="T86" fmla="*/ 620 w 1922"/>
                <a:gd name="T87" fmla="*/ 150 h 958"/>
                <a:gd name="T88" fmla="*/ 540 w 1922"/>
                <a:gd name="T89" fmla="*/ 159 h 958"/>
                <a:gd name="T90" fmla="*/ 439 w 1922"/>
                <a:gd name="T91" fmla="*/ 110 h 958"/>
                <a:gd name="T92" fmla="*/ 390 w 1922"/>
                <a:gd name="T93" fmla="*/ 123 h 958"/>
                <a:gd name="T94" fmla="*/ 325 w 1922"/>
                <a:gd name="T95" fmla="*/ 123 h 958"/>
                <a:gd name="T96" fmla="*/ 300 w 1922"/>
                <a:gd name="T97" fmla="*/ 70 h 958"/>
                <a:gd name="T98" fmla="*/ 300 w 1922"/>
                <a:gd name="T99" fmla="*/ 70 h 958"/>
                <a:gd name="T100" fmla="*/ 300 w 1922"/>
                <a:gd name="T101" fmla="*/ 70 h 9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22"/>
                <a:gd name="T154" fmla="*/ 0 h 958"/>
                <a:gd name="T155" fmla="*/ 1922 w 1922"/>
                <a:gd name="T156" fmla="*/ 958 h 9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22" h="958">
                  <a:moveTo>
                    <a:pt x="300" y="70"/>
                  </a:moveTo>
                  <a:lnTo>
                    <a:pt x="276" y="106"/>
                  </a:lnTo>
                  <a:lnTo>
                    <a:pt x="295" y="230"/>
                  </a:lnTo>
                  <a:lnTo>
                    <a:pt x="281" y="273"/>
                  </a:lnTo>
                  <a:lnTo>
                    <a:pt x="217" y="289"/>
                  </a:lnTo>
                  <a:lnTo>
                    <a:pt x="142" y="403"/>
                  </a:lnTo>
                  <a:lnTo>
                    <a:pt x="87" y="403"/>
                  </a:lnTo>
                  <a:lnTo>
                    <a:pt x="110" y="501"/>
                  </a:lnTo>
                  <a:lnTo>
                    <a:pt x="101" y="545"/>
                  </a:lnTo>
                  <a:lnTo>
                    <a:pt x="23" y="589"/>
                  </a:lnTo>
                  <a:lnTo>
                    <a:pt x="0" y="766"/>
                  </a:lnTo>
                  <a:lnTo>
                    <a:pt x="17" y="836"/>
                  </a:lnTo>
                  <a:lnTo>
                    <a:pt x="205" y="712"/>
                  </a:lnTo>
                  <a:lnTo>
                    <a:pt x="281" y="773"/>
                  </a:lnTo>
                  <a:lnTo>
                    <a:pt x="253" y="868"/>
                  </a:lnTo>
                  <a:lnTo>
                    <a:pt x="464" y="887"/>
                  </a:lnTo>
                  <a:lnTo>
                    <a:pt x="460" y="939"/>
                  </a:lnTo>
                  <a:lnTo>
                    <a:pt x="625" y="958"/>
                  </a:lnTo>
                  <a:lnTo>
                    <a:pt x="789" y="764"/>
                  </a:lnTo>
                  <a:lnTo>
                    <a:pt x="962" y="764"/>
                  </a:lnTo>
                  <a:lnTo>
                    <a:pt x="996" y="739"/>
                  </a:lnTo>
                  <a:lnTo>
                    <a:pt x="1241" y="794"/>
                  </a:lnTo>
                  <a:lnTo>
                    <a:pt x="1441" y="699"/>
                  </a:lnTo>
                  <a:lnTo>
                    <a:pt x="1494" y="699"/>
                  </a:lnTo>
                  <a:lnTo>
                    <a:pt x="1449" y="600"/>
                  </a:lnTo>
                  <a:lnTo>
                    <a:pt x="1471" y="462"/>
                  </a:lnTo>
                  <a:lnTo>
                    <a:pt x="1741" y="433"/>
                  </a:lnTo>
                  <a:lnTo>
                    <a:pt x="1772" y="391"/>
                  </a:lnTo>
                  <a:lnTo>
                    <a:pt x="1922" y="344"/>
                  </a:lnTo>
                  <a:lnTo>
                    <a:pt x="1895" y="165"/>
                  </a:lnTo>
                  <a:lnTo>
                    <a:pt x="1852" y="117"/>
                  </a:lnTo>
                  <a:lnTo>
                    <a:pt x="1802" y="116"/>
                  </a:lnTo>
                  <a:lnTo>
                    <a:pt x="1732" y="36"/>
                  </a:lnTo>
                  <a:lnTo>
                    <a:pt x="1622" y="0"/>
                  </a:lnTo>
                  <a:lnTo>
                    <a:pt x="1546" y="30"/>
                  </a:lnTo>
                  <a:lnTo>
                    <a:pt x="1589" y="123"/>
                  </a:lnTo>
                  <a:lnTo>
                    <a:pt x="1397" y="106"/>
                  </a:lnTo>
                  <a:lnTo>
                    <a:pt x="1144" y="133"/>
                  </a:lnTo>
                  <a:lnTo>
                    <a:pt x="983" y="213"/>
                  </a:lnTo>
                  <a:lnTo>
                    <a:pt x="988" y="268"/>
                  </a:lnTo>
                  <a:lnTo>
                    <a:pt x="880" y="319"/>
                  </a:lnTo>
                  <a:lnTo>
                    <a:pt x="874" y="277"/>
                  </a:lnTo>
                  <a:lnTo>
                    <a:pt x="703" y="313"/>
                  </a:lnTo>
                  <a:lnTo>
                    <a:pt x="620" y="150"/>
                  </a:lnTo>
                  <a:lnTo>
                    <a:pt x="540" y="159"/>
                  </a:lnTo>
                  <a:lnTo>
                    <a:pt x="439" y="110"/>
                  </a:lnTo>
                  <a:lnTo>
                    <a:pt x="390" y="123"/>
                  </a:lnTo>
                  <a:lnTo>
                    <a:pt x="325" y="123"/>
                  </a:lnTo>
                  <a:lnTo>
                    <a:pt x="300" y="70"/>
                  </a:lnTo>
                  <a:close/>
                </a:path>
              </a:pathLst>
            </a:custGeom>
            <a:grpFill/>
            <a:ln w="12700">
              <a:solidFill>
                <a:schemeClr val="bg1"/>
              </a:solidFill>
              <a:round/>
              <a:headEnd/>
              <a:tailEnd/>
            </a:ln>
          </p:spPr>
          <p:txBody>
            <a:bodyPr/>
            <a:lstStyle/>
            <a:p>
              <a:pPr>
                <a:defRPr/>
              </a:pPr>
              <a:endParaRPr lang="en-US"/>
            </a:p>
          </p:txBody>
        </p:sp>
        <p:sp>
          <p:nvSpPr>
            <p:cNvPr id="11" name="Freeform 11"/>
            <p:cNvSpPr>
              <a:spLocks noChangeAspect="1"/>
            </p:cNvSpPr>
            <p:nvPr/>
          </p:nvSpPr>
          <p:spPr bwMode="gray">
            <a:xfrm>
              <a:off x="4105" y="2028"/>
              <a:ext cx="710" cy="596"/>
            </a:xfrm>
            <a:custGeom>
              <a:avLst/>
              <a:gdLst>
                <a:gd name="T0" fmla="*/ 431 w 1420"/>
                <a:gd name="T1" fmla="*/ 365 h 1192"/>
                <a:gd name="T2" fmla="*/ 405 w 1420"/>
                <a:gd name="T3" fmla="*/ 422 h 1192"/>
                <a:gd name="T4" fmla="*/ 448 w 1420"/>
                <a:gd name="T5" fmla="*/ 468 h 1192"/>
                <a:gd name="T6" fmla="*/ 475 w 1420"/>
                <a:gd name="T7" fmla="*/ 645 h 1192"/>
                <a:gd name="T8" fmla="*/ 325 w 1420"/>
                <a:gd name="T9" fmla="*/ 692 h 1192"/>
                <a:gd name="T10" fmla="*/ 294 w 1420"/>
                <a:gd name="T11" fmla="*/ 734 h 1192"/>
                <a:gd name="T12" fmla="*/ 24 w 1420"/>
                <a:gd name="T13" fmla="*/ 766 h 1192"/>
                <a:gd name="T14" fmla="*/ 0 w 1420"/>
                <a:gd name="T15" fmla="*/ 905 h 1192"/>
                <a:gd name="T16" fmla="*/ 47 w 1420"/>
                <a:gd name="T17" fmla="*/ 1002 h 1192"/>
                <a:gd name="T18" fmla="*/ 138 w 1420"/>
                <a:gd name="T19" fmla="*/ 1000 h 1192"/>
                <a:gd name="T20" fmla="*/ 235 w 1420"/>
                <a:gd name="T21" fmla="*/ 930 h 1192"/>
                <a:gd name="T22" fmla="*/ 439 w 1420"/>
                <a:gd name="T23" fmla="*/ 970 h 1192"/>
                <a:gd name="T24" fmla="*/ 465 w 1420"/>
                <a:gd name="T25" fmla="*/ 936 h 1192"/>
                <a:gd name="T26" fmla="*/ 612 w 1420"/>
                <a:gd name="T27" fmla="*/ 989 h 1192"/>
                <a:gd name="T28" fmla="*/ 762 w 1420"/>
                <a:gd name="T29" fmla="*/ 1105 h 1192"/>
                <a:gd name="T30" fmla="*/ 823 w 1420"/>
                <a:gd name="T31" fmla="*/ 1107 h 1192"/>
                <a:gd name="T32" fmla="*/ 939 w 1420"/>
                <a:gd name="T33" fmla="*/ 1023 h 1192"/>
                <a:gd name="T34" fmla="*/ 1199 w 1420"/>
                <a:gd name="T35" fmla="*/ 1095 h 1192"/>
                <a:gd name="T36" fmla="*/ 1260 w 1420"/>
                <a:gd name="T37" fmla="*/ 1192 h 1192"/>
                <a:gd name="T38" fmla="*/ 1344 w 1420"/>
                <a:gd name="T39" fmla="*/ 1171 h 1192"/>
                <a:gd name="T40" fmla="*/ 1353 w 1420"/>
                <a:gd name="T41" fmla="*/ 1107 h 1192"/>
                <a:gd name="T42" fmla="*/ 1350 w 1420"/>
                <a:gd name="T43" fmla="*/ 1012 h 1192"/>
                <a:gd name="T44" fmla="*/ 1420 w 1420"/>
                <a:gd name="T45" fmla="*/ 987 h 1192"/>
                <a:gd name="T46" fmla="*/ 1344 w 1420"/>
                <a:gd name="T47" fmla="*/ 915 h 1192"/>
                <a:gd name="T48" fmla="*/ 1344 w 1420"/>
                <a:gd name="T49" fmla="*/ 860 h 1192"/>
                <a:gd name="T50" fmla="*/ 1287 w 1420"/>
                <a:gd name="T51" fmla="*/ 825 h 1192"/>
                <a:gd name="T52" fmla="*/ 1154 w 1420"/>
                <a:gd name="T53" fmla="*/ 842 h 1192"/>
                <a:gd name="T54" fmla="*/ 1154 w 1420"/>
                <a:gd name="T55" fmla="*/ 662 h 1192"/>
                <a:gd name="T56" fmla="*/ 1180 w 1420"/>
                <a:gd name="T57" fmla="*/ 618 h 1192"/>
                <a:gd name="T58" fmla="*/ 1080 w 1420"/>
                <a:gd name="T59" fmla="*/ 576 h 1192"/>
                <a:gd name="T60" fmla="*/ 1080 w 1420"/>
                <a:gd name="T61" fmla="*/ 455 h 1192"/>
                <a:gd name="T62" fmla="*/ 1106 w 1420"/>
                <a:gd name="T63" fmla="*/ 358 h 1192"/>
                <a:gd name="T64" fmla="*/ 1053 w 1420"/>
                <a:gd name="T65" fmla="*/ 318 h 1192"/>
                <a:gd name="T66" fmla="*/ 1057 w 1420"/>
                <a:gd name="T67" fmla="*/ 297 h 1192"/>
                <a:gd name="T68" fmla="*/ 1142 w 1420"/>
                <a:gd name="T69" fmla="*/ 297 h 1192"/>
                <a:gd name="T70" fmla="*/ 1142 w 1420"/>
                <a:gd name="T71" fmla="*/ 272 h 1192"/>
                <a:gd name="T72" fmla="*/ 1066 w 1420"/>
                <a:gd name="T73" fmla="*/ 247 h 1192"/>
                <a:gd name="T74" fmla="*/ 1032 w 1420"/>
                <a:gd name="T75" fmla="*/ 266 h 1192"/>
                <a:gd name="T76" fmla="*/ 956 w 1420"/>
                <a:gd name="T77" fmla="*/ 238 h 1192"/>
                <a:gd name="T78" fmla="*/ 950 w 1420"/>
                <a:gd name="T79" fmla="*/ 111 h 1192"/>
                <a:gd name="T80" fmla="*/ 952 w 1420"/>
                <a:gd name="T81" fmla="*/ 78 h 1192"/>
                <a:gd name="T82" fmla="*/ 1013 w 1420"/>
                <a:gd name="T83" fmla="*/ 95 h 1192"/>
                <a:gd name="T84" fmla="*/ 1030 w 1420"/>
                <a:gd name="T85" fmla="*/ 59 h 1192"/>
                <a:gd name="T86" fmla="*/ 950 w 1420"/>
                <a:gd name="T87" fmla="*/ 25 h 1192"/>
                <a:gd name="T88" fmla="*/ 891 w 1420"/>
                <a:gd name="T89" fmla="*/ 56 h 1192"/>
                <a:gd name="T90" fmla="*/ 718 w 1420"/>
                <a:gd name="T91" fmla="*/ 0 h 1192"/>
                <a:gd name="T92" fmla="*/ 633 w 1420"/>
                <a:gd name="T93" fmla="*/ 36 h 1192"/>
                <a:gd name="T94" fmla="*/ 635 w 1420"/>
                <a:gd name="T95" fmla="*/ 67 h 1192"/>
                <a:gd name="T96" fmla="*/ 753 w 1420"/>
                <a:gd name="T97" fmla="*/ 168 h 1192"/>
                <a:gd name="T98" fmla="*/ 652 w 1420"/>
                <a:gd name="T99" fmla="*/ 329 h 1192"/>
                <a:gd name="T100" fmla="*/ 772 w 1420"/>
                <a:gd name="T101" fmla="*/ 329 h 1192"/>
                <a:gd name="T102" fmla="*/ 753 w 1420"/>
                <a:gd name="T103" fmla="*/ 599 h 1192"/>
                <a:gd name="T104" fmla="*/ 635 w 1420"/>
                <a:gd name="T105" fmla="*/ 588 h 1192"/>
                <a:gd name="T106" fmla="*/ 572 w 1420"/>
                <a:gd name="T107" fmla="*/ 375 h 1192"/>
                <a:gd name="T108" fmla="*/ 431 w 1420"/>
                <a:gd name="T109" fmla="*/ 365 h 1192"/>
                <a:gd name="T110" fmla="*/ 431 w 1420"/>
                <a:gd name="T111" fmla="*/ 365 h 1192"/>
                <a:gd name="T112" fmla="*/ 431 w 1420"/>
                <a:gd name="T113" fmla="*/ 365 h 1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20"/>
                <a:gd name="T172" fmla="*/ 0 h 1192"/>
                <a:gd name="T173" fmla="*/ 1420 w 1420"/>
                <a:gd name="T174" fmla="*/ 1192 h 11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20" h="1192">
                  <a:moveTo>
                    <a:pt x="431" y="365"/>
                  </a:moveTo>
                  <a:lnTo>
                    <a:pt x="405" y="422"/>
                  </a:lnTo>
                  <a:lnTo>
                    <a:pt x="448" y="468"/>
                  </a:lnTo>
                  <a:lnTo>
                    <a:pt x="475" y="645"/>
                  </a:lnTo>
                  <a:lnTo>
                    <a:pt x="325" y="692"/>
                  </a:lnTo>
                  <a:lnTo>
                    <a:pt x="294" y="734"/>
                  </a:lnTo>
                  <a:lnTo>
                    <a:pt x="24" y="766"/>
                  </a:lnTo>
                  <a:lnTo>
                    <a:pt x="0" y="905"/>
                  </a:lnTo>
                  <a:lnTo>
                    <a:pt x="47" y="1002"/>
                  </a:lnTo>
                  <a:lnTo>
                    <a:pt x="138" y="1000"/>
                  </a:lnTo>
                  <a:lnTo>
                    <a:pt x="235" y="930"/>
                  </a:lnTo>
                  <a:lnTo>
                    <a:pt x="439" y="970"/>
                  </a:lnTo>
                  <a:lnTo>
                    <a:pt x="465" y="936"/>
                  </a:lnTo>
                  <a:lnTo>
                    <a:pt x="612" y="989"/>
                  </a:lnTo>
                  <a:lnTo>
                    <a:pt x="762" y="1105"/>
                  </a:lnTo>
                  <a:lnTo>
                    <a:pt x="823" y="1107"/>
                  </a:lnTo>
                  <a:lnTo>
                    <a:pt x="939" y="1023"/>
                  </a:lnTo>
                  <a:lnTo>
                    <a:pt x="1199" y="1095"/>
                  </a:lnTo>
                  <a:lnTo>
                    <a:pt x="1260" y="1192"/>
                  </a:lnTo>
                  <a:lnTo>
                    <a:pt x="1344" y="1171"/>
                  </a:lnTo>
                  <a:lnTo>
                    <a:pt x="1353" y="1107"/>
                  </a:lnTo>
                  <a:lnTo>
                    <a:pt x="1350" y="1012"/>
                  </a:lnTo>
                  <a:lnTo>
                    <a:pt x="1420" y="987"/>
                  </a:lnTo>
                  <a:lnTo>
                    <a:pt x="1344" y="915"/>
                  </a:lnTo>
                  <a:lnTo>
                    <a:pt x="1344" y="860"/>
                  </a:lnTo>
                  <a:lnTo>
                    <a:pt x="1287" y="825"/>
                  </a:lnTo>
                  <a:lnTo>
                    <a:pt x="1154" y="842"/>
                  </a:lnTo>
                  <a:lnTo>
                    <a:pt x="1154" y="662"/>
                  </a:lnTo>
                  <a:lnTo>
                    <a:pt x="1180" y="618"/>
                  </a:lnTo>
                  <a:lnTo>
                    <a:pt x="1080" y="576"/>
                  </a:lnTo>
                  <a:lnTo>
                    <a:pt x="1080" y="455"/>
                  </a:lnTo>
                  <a:lnTo>
                    <a:pt x="1106" y="358"/>
                  </a:lnTo>
                  <a:lnTo>
                    <a:pt x="1053" y="318"/>
                  </a:lnTo>
                  <a:lnTo>
                    <a:pt x="1057" y="297"/>
                  </a:lnTo>
                  <a:lnTo>
                    <a:pt x="1142" y="297"/>
                  </a:lnTo>
                  <a:lnTo>
                    <a:pt x="1142" y="272"/>
                  </a:lnTo>
                  <a:lnTo>
                    <a:pt x="1066" y="247"/>
                  </a:lnTo>
                  <a:lnTo>
                    <a:pt x="1032" y="266"/>
                  </a:lnTo>
                  <a:lnTo>
                    <a:pt x="956" y="238"/>
                  </a:lnTo>
                  <a:lnTo>
                    <a:pt x="950" y="111"/>
                  </a:lnTo>
                  <a:lnTo>
                    <a:pt x="952" y="78"/>
                  </a:lnTo>
                  <a:lnTo>
                    <a:pt x="1013" y="95"/>
                  </a:lnTo>
                  <a:lnTo>
                    <a:pt x="1030" y="59"/>
                  </a:lnTo>
                  <a:lnTo>
                    <a:pt x="950" y="25"/>
                  </a:lnTo>
                  <a:lnTo>
                    <a:pt x="891" y="56"/>
                  </a:lnTo>
                  <a:lnTo>
                    <a:pt x="718" y="0"/>
                  </a:lnTo>
                  <a:lnTo>
                    <a:pt x="633" y="36"/>
                  </a:lnTo>
                  <a:lnTo>
                    <a:pt x="635" y="67"/>
                  </a:lnTo>
                  <a:lnTo>
                    <a:pt x="753" y="168"/>
                  </a:lnTo>
                  <a:lnTo>
                    <a:pt x="652" y="329"/>
                  </a:lnTo>
                  <a:lnTo>
                    <a:pt x="772" y="329"/>
                  </a:lnTo>
                  <a:lnTo>
                    <a:pt x="753" y="599"/>
                  </a:lnTo>
                  <a:lnTo>
                    <a:pt x="635" y="588"/>
                  </a:lnTo>
                  <a:lnTo>
                    <a:pt x="572" y="375"/>
                  </a:lnTo>
                  <a:lnTo>
                    <a:pt x="431" y="365"/>
                  </a:lnTo>
                  <a:close/>
                </a:path>
              </a:pathLst>
            </a:custGeom>
            <a:grpFill/>
            <a:ln w="12700">
              <a:solidFill>
                <a:schemeClr val="bg1"/>
              </a:solidFill>
              <a:round/>
              <a:headEnd/>
              <a:tailEnd/>
            </a:ln>
          </p:spPr>
          <p:txBody>
            <a:bodyPr/>
            <a:lstStyle/>
            <a:p>
              <a:pPr>
                <a:defRPr/>
              </a:pPr>
              <a:endParaRPr lang="en-US"/>
            </a:p>
          </p:txBody>
        </p:sp>
        <p:sp>
          <p:nvSpPr>
            <p:cNvPr id="12" name="Freeform 12"/>
            <p:cNvSpPr>
              <a:spLocks noChangeAspect="1"/>
            </p:cNvSpPr>
            <p:nvPr/>
          </p:nvSpPr>
          <p:spPr bwMode="gray">
            <a:xfrm>
              <a:off x="4132" y="2492"/>
              <a:ext cx="299" cy="290"/>
            </a:xfrm>
            <a:custGeom>
              <a:avLst/>
              <a:gdLst>
                <a:gd name="T0" fmla="*/ 180 w 597"/>
                <a:gd name="T1" fmla="*/ 0 h 580"/>
                <a:gd name="T2" fmla="*/ 80 w 597"/>
                <a:gd name="T3" fmla="*/ 68 h 580"/>
                <a:gd name="T4" fmla="*/ 110 w 597"/>
                <a:gd name="T5" fmla="*/ 122 h 580"/>
                <a:gd name="T6" fmla="*/ 0 w 597"/>
                <a:gd name="T7" fmla="*/ 167 h 580"/>
                <a:gd name="T8" fmla="*/ 13 w 597"/>
                <a:gd name="T9" fmla="*/ 264 h 580"/>
                <a:gd name="T10" fmla="*/ 89 w 597"/>
                <a:gd name="T11" fmla="*/ 302 h 580"/>
                <a:gd name="T12" fmla="*/ 129 w 597"/>
                <a:gd name="T13" fmla="*/ 479 h 580"/>
                <a:gd name="T14" fmla="*/ 331 w 597"/>
                <a:gd name="T15" fmla="*/ 572 h 580"/>
                <a:gd name="T16" fmla="*/ 390 w 597"/>
                <a:gd name="T17" fmla="*/ 580 h 580"/>
                <a:gd name="T18" fmla="*/ 390 w 597"/>
                <a:gd name="T19" fmla="*/ 519 h 580"/>
                <a:gd name="T20" fmla="*/ 433 w 597"/>
                <a:gd name="T21" fmla="*/ 475 h 580"/>
                <a:gd name="T22" fmla="*/ 597 w 597"/>
                <a:gd name="T23" fmla="*/ 443 h 580"/>
                <a:gd name="T24" fmla="*/ 597 w 597"/>
                <a:gd name="T25" fmla="*/ 403 h 580"/>
                <a:gd name="T26" fmla="*/ 504 w 597"/>
                <a:gd name="T27" fmla="*/ 323 h 580"/>
                <a:gd name="T28" fmla="*/ 490 w 597"/>
                <a:gd name="T29" fmla="*/ 237 h 580"/>
                <a:gd name="T30" fmla="*/ 410 w 597"/>
                <a:gd name="T31" fmla="*/ 188 h 580"/>
                <a:gd name="T32" fmla="*/ 420 w 597"/>
                <a:gd name="T33" fmla="*/ 125 h 580"/>
                <a:gd name="T34" fmla="*/ 384 w 597"/>
                <a:gd name="T35" fmla="*/ 40 h 580"/>
                <a:gd name="T36" fmla="*/ 180 w 597"/>
                <a:gd name="T37" fmla="*/ 0 h 580"/>
                <a:gd name="T38" fmla="*/ 180 w 597"/>
                <a:gd name="T39" fmla="*/ 0 h 580"/>
                <a:gd name="T40" fmla="*/ 180 w 597"/>
                <a:gd name="T41" fmla="*/ 0 h 5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97"/>
                <a:gd name="T64" fmla="*/ 0 h 580"/>
                <a:gd name="T65" fmla="*/ 597 w 597"/>
                <a:gd name="T66" fmla="*/ 580 h 5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97" h="580">
                  <a:moveTo>
                    <a:pt x="180" y="0"/>
                  </a:moveTo>
                  <a:lnTo>
                    <a:pt x="80" y="68"/>
                  </a:lnTo>
                  <a:lnTo>
                    <a:pt x="110" y="122"/>
                  </a:lnTo>
                  <a:lnTo>
                    <a:pt x="0" y="167"/>
                  </a:lnTo>
                  <a:lnTo>
                    <a:pt x="13" y="264"/>
                  </a:lnTo>
                  <a:lnTo>
                    <a:pt x="89" y="302"/>
                  </a:lnTo>
                  <a:lnTo>
                    <a:pt x="129" y="479"/>
                  </a:lnTo>
                  <a:lnTo>
                    <a:pt x="331" y="572"/>
                  </a:lnTo>
                  <a:lnTo>
                    <a:pt x="390" y="580"/>
                  </a:lnTo>
                  <a:lnTo>
                    <a:pt x="390" y="519"/>
                  </a:lnTo>
                  <a:lnTo>
                    <a:pt x="433" y="475"/>
                  </a:lnTo>
                  <a:lnTo>
                    <a:pt x="597" y="443"/>
                  </a:lnTo>
                  <a:lnTo>
                    <a:pt x="597" y="403"/>
                  </a:lnTo>
                  <a:lnTo>
                    <a:pt x="504" y="323"/>
                  </a:lnTo>
                  <a:lnTo>
                    <a:pt x="490" y="237"/>
                  </a:lnTo>
                  <a:lnTo>
                    <a:pt x="410" y="188"/>
                  </a:lnTo>
                  <a:lnTo>
                    <a:pt x="420" y="125"/>
                  </a:lnTo>
                  <a:lnTo>
                    <a:pt x="384" y="40"/>
                  </a:lnTo>
                  <a:lnTo>
                    <a:pt x="180" y="0"/>
                  </a:lnTo>
                  <a:close/>
                </a:path>
              </a:pathLst>
            </a:custGeom>
            <a:grpFill/>
            <a:ln w="12700">
              <a:solidFill>
                <a:schemeClr val="bg1"/>
              </a:solidFill>
              <a:round/>
              <a:headEnd/>
              <a:tailEnd/>
            </a:ln>
          </p:spPr>
          <p:txBody>
            <a:bodyPr/>
            <a:lstStyle/>
            <a:p>
              <a:pPr>
                <a:defRPr/>
              </a:pPr>
              <a:endParaRPr lang="en-US"/>
            </a:p>
          </p:txBody>
        </p:sp>
        <p:sp>
          <p:nvSpPr>
            <p:cNvPr id="13" name="Freeform 13"/>
            <p:cNvSpPr>
              <a:spLocks noChangeAspect="1"/>
            </p:cNvSpPr>
            <p:nvPr/>
          </p:nvSpPr>
          <p:spPr bwMode="gray">
            <a:xfrm>
              <a:off x="4324" y="2495"/>
              <a:ext cx="891" cy="412"/>
            </a:xfrm>
            <a:custGeom>
              <a:avLst/>
              <a:gdLst>
                <a:gd name="T0" fmla="*/ 26 w 1781"/>
                <a:gd name="T1" fmla="*/ 0 h 823"/>
                <a:gd name="T2" fmla="*/ 0 w 1781"/>
                <a:gd name="T3" fmla="*/ 34 h 823"/>
                <a:gd name="T4" fmla="*/ 36 w 1781"/>
                <a:gd name="T5" fmla="*/ 121 h 823"/>
                <a:gd name="T6" fmla="*/ 26 w 1781"/>
                <a:gd name="T7" fmla="*/ 180 h 823"/>
                <a:gd name="T8" fmla="*/ 110 w 1781"/>
                <a:gd name="T9" fmla="*/ 235 h 823"/>
                <a:gd name="T10" fmla="*/ 123 w 1781"/>
                <a:gd name="T11" fmla="*/ 321 h 823"/>
                <a:gd name="T12" fmla="*/ 213 w 1781"/>
                <a:gd name="T13" fmla="*/ 397 h 823"/>
                <a:gd name="T14" fmla="*/ 213 w 1781"/>
                <a:gd name="T15" fmla="*/ 437 h 823"/>
                <a:gd name="T16" fmla="*/ 45 w 1781"/>
                <a:gd name="T17" fmla="*/ 467 h 823"/>
                <a:gd name="T18" fmla="*/ 6 w 1781"/>
                <a:gd name="T19" fmla="*/ 513 h 823"/>
                <a:gd name="T20" fmla="*/ 6 w 1781"/>
                <a:gd name="T21" fmla="*/ 574 h 823"/>
                <a:gd name="T22" fmla="*/ 734 w 1781"/>
                <a:gd name="T23" fmla="*/ 731 h 823"/>
                <a:gd name="T24" fmla="*/ 1321 w 1781"/>
                <a:gd name="T25" fmla="*/ 823 h 823"/>
                <a:gd name="T26" fmla="*/ 1625 w 1781"/>
                <a:gd name="T27" fmla="*/ 672 h 823"/>
                <a:gd name="T28" fmla="*/ 1781 w 1781"/>
                <a:gd name="T29" fmla="*/ 659 h 823"/>
                <a:gd name="T30" fmla="*/ 1770 w 1781"/>
                <a:gd name="T31" fmla="*/ 486 h 823"/>
                <a:gd name="T32" fmla="*/ 1734 w 1781"/>
                <a:gd name="T33" fmla="*/ 467 h 823"/>
                <a:gd name="T34" fmla="*/ 1741 w 1781"/>
                <a:gd name="T35" fmla="*/ 281 h 823"/>
                <a:gd name="T36" fmla="*/ 1599 w 1781"/>
                <a:gd name="T37" fmla="*/ 165 h 823"/>
                <a:gd name="T38" fmla="*/ 1357 w 1781"/>
                <a:gd name="T39" fmla="*/ 209 h 823"/>
                <a:gd name="T40" fmla="*/ 1317 w 1781"/>
                <a:gd name="T41" fmla="*/ 252 h 823"/>
                <a:gd name="T42" fmla="*/ 1171 w 1781"/>
                <a:gd name="T43" fmla="*/ 146 h 823"/>
                <a:gd name="T44" fmla="*/ 950 w 1781"/>
                <a:gd name="T45" fmla="*/ 287 h 823"/>
                <a:gd name="T46" fmla="*/ 857 w 1781"/>
                <a:gd name="T47" fmla="*/ 311 h 823"/>
                <a:gd name="T48" fmla="*/ 827 w 1781"/>
                <a:gd name="T49" fmla="*/ 256 h 823"/>
                <a:gd name="T50" fmla="*/ 764 w 1781"/>
                <a:gd name="T51" fmla="*/ 161 h 823"/>
                <a:gd name="T52" fmla="*/ 500 w 1781"/>
                <a:gd name="T53" fmla="*/ 87 h 823"/>
                <a:gd name="T54" fmla="*/ 390 w 1781"/>
                <a:gd name="T55" fmla="*/ 165 h 823"/>
                <a:gd name="T56" fmla="*/ 323 w 1781"/>
                <a:gd name="T57" fmla="*/ 165 h 823"/>
                <a:gd name="T58" fmla="*/ 169 w 1781"/>
                <a:gd name="T59" fmla="*/ 49 h 823"/>
                <a:gd name="T60" fmla="*/ 26 w 1781"/>
                <a:gd name="T61" fmla="*/ 0 h 823"/>
                <a:gd name="T62" fmla="*/ 26 w 1781"/>
                <a:gd name="T63" fmla="*/ 0 h 823"/>
                <a:gd name="T64" fmla="*/ 26 w 1781"/>
                <a:gd name="T65" fmla="*/ 0 h 8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1"/>
                <a:gd name="T100" fmla="*/ 0 h 823"/>
                <a:gd name="T101" fmla="*/ 1781 w 1781"/>
                <a:gd name="T102" fmla="*/ 823 h 82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1" h="823">
                  <a:moveTo>
                    <a:pt x="26" y="0"/>
                  </a:moveTo>
                  <a:lnTo>
                    <a:pt x="0" y="34"/>
                  </a:lnTo>
                  <a:lnTo>
                    <a:pt x="36" y="121"/>
                  </a:lnTo>
                  <a:lnTo>
                    <a:pt x="26" y="180"/>
                  </a:lnTo>
                  <a:lnTo>
                    <a:pt x="110" y="235"/>
                  </a:lnTo>
                  <a:lnTo>
                    <a:pt x="123" y="321"/>
                  </a:lnTo>
                  <a:lnTo>
                    <a:pt x="213" y="397"/>
                  </a:lnTo>
                  <a:lnTo>
                    <a:pt x="213" y="437"/>
                  </a:lnTo>
                  <a:lnTo>
                    <a:pt x="45" y="467"/>
                  </a:lnTo>
                  <a:lnTo>
                    <a:pt x="6" y="513"/>
                  </a:lnTo>
                  <a:lnTo>
                    <a:pt x="6" y="574"/>
                  </a:lnTo>
                  <a:lnTo>
                    <a:pt x="734" y="731"/>
                  </a:lnTo>
                  <a:lnTo>
                    <a:pt x="1321" y="823"/>
                  </a:lnTo>
                  <a:lnTo>
                    <a:pt x="1625" y="672"/>
                  </a:lnTo>
                  <a:lnTo>
                    <a:pt x="1781" y="659"/>
                  </a:lnTo>
                  <a:lnTo>
                    <a:pt x="1770" y="486"/>
                  </a:lnTo>
                  <a:lnTo>
                    <a:pt x="1734" y="467"/>
                  </a:lnTo>
                  <a:lnTo>
                    <a:pt x="1741" y="281"/>
                  </a:lnTo>
                  <a:lnTo>
                    <a:pt x="1599" y="165"/>
                  </a:lnTo>
                  <a:lnTo>
                    <a:pt x="1357" y="209"/>
                  </a:lnTo>
                  <a:lnTo>
                    <a:pt x="1317" y="252"/>
                  </a:lnTo>
                  <a:lnTo>
                    <a:pt x="1171" y="146"/>
                  </a:lnTo>
                  <a:lnTo>
                    <a:pt x="950" y="287"/>
                  </a:lnTo>
                  <a:lnTo>
                    <a:pt x="857" y="311"/>
                  </a:lnTo>
                  <a:lnTo>
                    <a:pt x="827" y="256"/>
                  </a:lnTo>
                  <a:lnTo>
                    <a:pt x="764" y="161"/>
                  </a:lnTo>
                  <a:lnTo>
                    <a:pt x="500" y="87"/>
                  </a:lnTo>
                  <a:lnTo>
                    <a:pt x="390" y="165"/>
                  </a:lnTo>
                  <a:lnTo>
                    <a:pt x="323" y="165"/>
                  </a:lnTo>
                  <a:lnTo>
                    <a:pt x="169" y="49"/>
                  </a:lnTo>
                  <a:lnTo>
                    <a:pt x="26" y="0"/>
                  </a:lnTo>
                  <a:close/>
                </a:path>
              </a:pathLst>
            </a:custGeom>
            <a:grpFill/>
            <a:ln w="12700">
              <a:solidFill>
                <a:schemeClr val="bg1"/>
              </a:solidFill>
              <a:round/>
              <a:headEnd/>
              <a:tailEnd/>
            </a:ln>
          </p:spPr>
          <p:txBody>
            <a:bodyPr/>
            <a:lstStyle/>
            <a:p>
              <a:pPr>
                <a:defRPr/>
              </a:pPr>
              <a:endParaRPr lang="en-US"/>
            </a:p>
          </p:txBody>
        </p:sp>
        <p:sp>
          <p:nvSpPr>
            <p:cNvPr id="14" name="Freeform 14"/>
            <p:cNvSpPr>
              <a:spLocks noChangeAspect="1"/>
            </p:cNvSpPr>
            <p:nvPr/>
          </p:nvSpPr>
          <p:spPr bwMode="gray">
            <a:xfrm>
              <a:off x="4400" y="1643"/>
              <a:ext cx="802" cy="695"/>
            </a:xfrm>
            <a:custGeom>
              <a:avLst/>
              <a:gdLst>
                <a:gd name="T0" fmla="*/ 800 w 1605"/>
                <a:gd name="T1" fmla="*/ 0 h 1391"/>
                <a:gd name="T2" fmla="*/ 707 w 1605"/>
                <a:gd name="T3" fmla="*/ 283 h 1391"/>
                <a:gd name="T4" fmla="*/ 574 w 1605"/>
                <a:gd name="T5" fmla="*/ 190 h 1391"/>
                <a:gd name="T6" fmla="*/ 504 w 1605"/>
                <a:gd name="T7" fmla="*/ 222 h 1391"/>
                <a:gd name="T8" fmla="*/ 487 w 1605"/>
                <a:gd name="T9" fmla="*/ 416 h 1391"/>
                <a:gd name="T10" fmla="*/ 167 w 1605"/>
                <a:gd name="T11" fmla="*/ 574 h 1391"/>
                <a:gd name="T12" fmla="*/ 89 w 1605"/>
                <a:gd name="T13" fmla="*/ 556 h 1391"/>
                <a:gd name="T14" fmla="*/ 0 w 1605"/>
                <a:gd name="T15" fmla="*/ 663 h 1391"/>
                <a:gd name="T16" fmla="*/ 44 w 1605"/>
                <a:gd name="T17" fmla="*/ 805 h 1391"/>
                <a:gd name="T18" fmla="*/ 129 w 1605"/>
                <a:gd name="T19" fmla="*/ 769 h 1391"/>
                <a:gd name="T20" fmla="*/ 302 w 1605"/>
                <a:gd name="T21" fmla="*/ 826 h 1391"/>
                <a:gd name="T22" fmla="*/ 363 w 1605"/>
                <a:gd name="T23" fmla="*/ 798 h 1391"/>
                <a:gd name="T24" fmla="*/ 437 w 1605"/>
                <a:gd name="T25" fmla="*/ 830 h 1391"/>
                <a:gd name="T26" fmla="*/ 424 w 1605"/>
                <a:gd name="T27" fmla="*/ 863 h 1391"/>
                <a:gd name="T28" fmla="*/ 363 w 1605"/>
                <a:gd name="T29" fmla="*/ 842 h 1391"/>
                <a:gd name="T30" fmla="*/ 357 w 1605"/>
                <a:gd name="T31" fmla="*/ 887 h 1391"/>
                <a:gd name="T32" fmla="*/ 367 w 1605"/>
                <a:gd name="T33" fmla="*/ 1011 h 1391"/>
                <a:gd name="T34" fmla="*/ 443 w 1605"/>
                <a:gd name="T35" fmla="*/ 1035 h 1391"/>
                <a:gd name="T36" fmla="*/ 481 w 1605"/>
                <a:gd name="T37" fmla="*/ 1020 h 1391"/>
                <a:gd name="T38" fmla="*/ 553 w 1605"/>
                <a:gd name="T39" fmla="*/ 1041 h 1391"/>
                <a:gd name="T40" fmla="*/ 553 w 1605"/>
                <a:gd name="T41" fmla="*/ 1066 h 1391"/>
                <a:gd name="T42" fmla="*/ 470 w 1605"/>
                <a:gd name="T43" fmla="*/ 1066 h 1391"/>
                <a:gd name="T44" fmla="*/ 464 w 1605"/>
                <a:gd name="T45" fmla="*/ 1085 h 1391"/>
                <a:gd name="T46" fmla="*/ 517 w 1605"/>
                <a:gd name="T47" fmla="*/ 1127 h 1391"/>
                <a:gd name="T48" fmla="*/ 491 w 1605"/>
                <a:gd name="T49" fmla="*/ 1224 h 1391"/>
                <a:gd name="T50" fmla="*/ 487 w 1605"/>
                <a:gd name="T51" fmla="*/ 1345 h 1391"/>
                <a:gd name="T52" fmla="*/ 588 w 1605"/>
                <a:gd name="T53" fmla="*/ 1387 h 1391"/>
                <a:gd name="T54" fmla="*/ 698 w 1605"/>
                <a:gd name="T55" fmla="*/ 1391 h 1391"/>
                <a:gd name="T56" fmla="*/ 698 w 1605"/>
                <a:gd name="T57" fmla="*/ 1252 h 1391"/>
                <a:gd name="T58" fmla="*/ 641 w 1605"/>
                <a:gd name="T59" fmla="*/ 1229 h 1391"/>
                <a:gd name="T60" fmla="*/ 681 w 1605"/>
                <a:gd name="T61" fmla="*/ 1127 h 1391"/>
                <a:gd name="T62" fmla="*/ 839 w 1605"/>
                <a:gd name="T63" fmla="*/ 1127 h 1391"/>
                <a:gd name="T64" fmla="*/ 915 w 1605"/>
                <a:gd name="T65" fmla="*/ 1235 h 1391"/>
                <a:gd name="T66" fmla="*/ 1044 w 1605"/>
                <a:gd name="T67" fmla="*/ 1210 h 1391"/>
                <a:gd name="T68" fmla="*/ 1082 w 1605"/>
                <a:gd name="T69" fmla="*/ 1258 h 1391"/>
                <a:gd name="T70" fmla="*/ 1264 w 1605"/>
                <a:gd name="T71" fmla="*/ 1182 h 1391"/>
                <a:gd name="T72" fmla="*/ 1268 w 1605"/>
                <a:gd name="T73" fmla="*/ 1136 h 1391"/>
                <a:gd name="T74" fmla="*/ 1409 w 1605"/>
                <a:gd name="T75" fmla="*/ 1100 h 1391"/>
                <a:gd name="T76" fmla="*/ 1409 w 1605"/>
                <a:gd name="T77" fmla="*/ 1015 h 1391"/>
                <a:gd name="T78" fmla="*/ 1445 w 1605"/>
                <a:gd name="T79" fmla="*/ 988 h 1391"/>
                <a:gd name="T80" fmla="*/ 1445 w 1605"/>
                <a:gd name="T81" fmla="*/ 918 h 1391"/>
                <a:gd name="T82" fmla="*/ 1325 w 1605"/>
                <a:gd name="T83" fmla="*/ 899 h 1391"/>
                <a:gd name="T84" fmla="*/ 1215 w 1605"/>
                <a:gd name="T85" fmla="*/ 785 h 1391"/>
                <a:gd name="T86" fmla="*/ 1251 w 1605"/>
                <a:gd name="T87" fmla="*/ 722 h 1391"/>
                <a:gd name="T88" fmla="*/ 1251 w 1605"/>
                <a:gd name="T89" fmla="*/ 583 h 1391"/>
                <a:gd name="T90" fmla="*/ 1352 w 1605"/>
                <a:gd name="T91" fmla="*/ 638 h 1391"/>
                <a:gd name="T92" fmla="*/ 1502 w 1605"/>
                <a:gd name="T93" fmla="*/ 638 h 1391"/>
                <a:gd name="T94" fmla="*/ 1578 w 1605"/>
                <a:gd name="T95" fmla="*/ 596 h 1391"/>
                <a:gd name="T96" fmla="*/ 1605 w 1605"/>
                <a:gd name="T97" fmla="*/ 503 h 1391"/>
                <a:gd name="T98" fmla="*/ 1565 w 1605"/>
                <a:gd name="T99" fmla="*/ 399 h 1391"/>
                <a:gd name="T100" fmla="*/ 1565 w 1605"/>
                <a:gd name="T101" fmla="*/ 332 h 1391"/>
                <a:gd name="T102" fmla="*/ 1508 w 1605"/>
                <a:gd name="T103" fmla="*/ 302 h 1391"/>
                <a:gd name="T104" fmla="*/ 1494 w 1605"/>
                <a:gd name="T105" fmla="*/ 230 h 1391"/>
                <a:gd name="T106" fmla="*/ 1399 w 1605"/>
                <a:gd name="T107" fmla="*/ 203 h 1391"/>
                <a:gd name="T108" fmla="*/ 1230 w 1605"/>
                <a:gd name="T109" fmla="*/ 142 h 1391"/>
                <a:gd name="T110" fmla="*/ 1137 w 1605"/>
                <a:gd name="T111" fmla="*/ 228 h 1391"/>
                <a:gd name="T112" fmla="*/ 1065 w 1605"/>
                <a:gd name="T113" fmla="*/ 184 h 1391"/>
                <a:gd name="T114" fmla="*/ 941 w 1605"/>
                <a:gd name="T115" fmla="*/ 171 h 1391"/>
                <a:gd name="T116" fmla="*/ 941 w 1605"/>
                <a:gd name="T117" fmla="*/ 102 h 1391"/>
                <a:gd name="T118" fmla="*/ 800 w 1605"/>
                <a:gd name="T119" fmla="*/ 0 h 1391"/>
                <a:gd name="T120" fmla="*/ 800 w 1605"/>
                <a:gd name="T121" fmla="*/ 0 h 1391"/>
                <a:gd name="T122" fmla="*/ 800 w 1605"/>
                <a:gd name="T123" fmla="*/ 0 h 13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5"/>
                <a:gd name="T187" fmla="*/ 0 h 1391"/>
                <a:gd name="T188" fmla="*/ 1605 w 1605"/>
                <a:gd name="T189" fmla="*/ 1391 h 13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5" h="1391">
                  <a:moveTo>
                    <a:pt x="800" y="0"/>
                  </a:moveTo>
                  <a:lnTo>
                    <a:pt x="707" y="283"/>
                  </a:lnTo>
                  <a:lnTo>
                    <a:pt x="574" y="190"/>
                  </a:lnTo>
                  <a:lnTo>
                    <a:pt x="504" y="222"/>
                  </a:lnTo>
                  <a:lnTo>
                    <a:pt x="487" y="416"/>
                  </a:lnTo>
                  <a:lnTo>
                    <a:pt x="167" y="574"/>
                  </a:lnTo>
                  <a:lnTo>
                    <a:pt x="89" y="556"/>
                  </a:lnTo>
                  <a:lnTo>
                    <a:pt x="0" y="663"/>
                  </a:lnTo>
                  <a:lnTo>
                    <a:pt x="44" y="805"/>
                  </a:lnTo>
                  <a:lnTo>
                    <a:pt x="129" y="769"/>
                  </a:lnTo>
                  <a:lnTo>
                    <a:pt x="302" y="826"/>
                  </a:lnTo>
                  <a:lnTo>
                    <a:pt x="363" y="798"/>
                  </a:lnTo>
                  <a:lnTo>
                    <a:pt x="437" y="830"/>
                  </a:lnTo>
                  <a:lnTo>
                    <a:pt x="424" y="863"/>
                  </a:lnTo>
                  <a:lnTo>
                    <a:pt x="363" y="842"/>
                  </a:lnTo>
                  <a:lnTo>
                    <a:pt x="357" y="887"/>
                  </a:lnTo>
                  <a:lnTo>
                    <a:pt x="367" y="1011"/>
                  </a:lnTo>
                  <a:lnTo>
                    <a:pt x="443" y="1035"/>
                  </a:lnTo>
                  <a:lnTo>
                    <a:pt x="481" y="1020"/>
                  </a:lnTo>
                  <a:lnTo>
                    <a:pt x="553" y="1041"/>
                  </a:lnTo>
                  <a:lnTo>
                    <a:pt x="553" y="1066"/>
                  </a:lnTo>
                  <a:lnTo>
                    <a:pt x="470" y="1066"/>
                  </a:lnTo>
                  <a:lnTo>
                    <a:pt x="464" y="1085"/>
                  </a:lnTo>
                  <a:lnTo>
                    <a:pt x="517" y="1127"/>
                  </a:lnTo>
                  <a:lnTo>
                    <a:pt x="491" y="1224"/>
                  </a:lnTo>
                  <a:lnTo>
                    <a:pt x="487" y="1345"/>
                  </a:lnTo>
                  <a:lnTo>
                    <a:pt x="588" y="1387"/>
                  </a:lnTo>
                  <a:lnTo>
                    <a:pt x="698" y="1391"/>
                  </a:lnTo>
                  <a:lnTo>
                    <a:pt x="698" y="1252"/>
                  </a:lnTo>
                  <a:lnTo>
                    <a:pt x="641" y="1229"/>
                  </a:lnTo>
                  <a:lnTo>
                    <a:pt x="681" y="1127"/>
                  </a:lnTo>
                  <a:lnTo>
                    <a:pt x="839" y="1127"/>
                  </a:lnTo>
                  <a:lnTo>
                    <a:pt x="915" y="1235"/>
                  </a:lnTo>
                  <a:lnTo>
                    <a:pt x="1044" y="1210"/>
                  </a:lnTo>
                  <a:lnTo>
                    <a:pt x="1082" y="1258"/>
                  </a:lnTo>
                  <a:lnTo>
                    <a:pt x="1264" y="1182"/>
                  </a:lnTo>
                  <a:lnTo>
                    <a:pt x="1268" y="1136"/>
                  </a:lnTo>
                  <a:lnTo>
                    <a:pt x="1409" y="1100"/>
                  </a:lnTo>
                  <a:lnTo>
                    <a:pt x="1409" y="1015"/>
                  </a:lnTo>
                  <a:lnTo>
                    <a:pt x="1445" y="988"/>
                  </a:lnTo>
                  <a:lnTo>
                    <a:pt x="1445" y="918"/>
                  </a:lnTo>
                  <a:lnTo>
                    <a:pt x="1325" y="899"/>
                  </a:lnTo>
                  <a:lnTo>
                    <a:pt x="1215" y="785"/>
                  </a:lnTo>
                  <a:lnTo>
                    <a:pt x="1251" y="722"/>
                  </a:lnTo>
                  <a:lnTo>
                    <a:pt x="1251" y="583"/>
                  </a:lnTo>
                  <a:lnTo>
                    <a:pt x="1352" y="638"/>
                  </a:lnTo>
                  <a:lnTo>
                    <a:pt x="1502" y="638"/>
                  </a:lnTo>
                  <a:lnTo>
                    <a:pt x="1578" y="596"/>
                  </a:lnTo>
                  <a:lnTo>
                    <a:pt x="1605" y="503"/>
                  </a:lnTo>
                  <a:lnTo>
                    <a:pt x="1565" y="399"/>
                  </a:lnTo>
                  <a:lnTo>
                    <a:pt x="1565" y="332"/>
                  </a:lnTo>
                  <a:lnTo>
                    <a:pt x="1508" y="302"/>
                  </a:lnTo>
                  <a:lnTo>
                    <a:pt x="1494" y="230"/>
                  </a:lnTo>
                  <a:lnTo>
                    <a:pt x="1399" y="203"/>
                  </a:lnTo>
                  <a:lnTo>
                    <a:pt x="1230" y="142"/>
                  </a:lnTo>
                  <a:lnTo>
                    <a:pt x="1137" y="228"/>
                  </a:lnTo>
                  <a:lnTo>
                    <a:pt x="1065" y="184"/>
                  </a:lnTo>
                  <a:lnTo>
                    <a:pt x="941" y="171"/>
                  </a:lnTo>
                  <a:lnTo>
                    <a:pt x="941" y="102"/>
                  </a:lnTo>
                  <a:lnTo>
                    <a:pt x="800" y="0"/>
                  </a:lnTo>
                  <a:close/>
                </a:path>
              </a:pathLst>
            </a:custGeom>
            <a:grpFill/>
            <a:ln w="12700">
              <a:solidFill>
                <a:schemeClr val="bg1"/>
              </a:solidFill>
              <a:round/>
              <a:headEnd/>
              <a:tailEnd/>
            </a:ln>
          </p:spPr>
          <p:txBody>
            <a:bodyPr/>
            <a:lstStyle/>
            <a:p>
              <a:pPr>
                <a:defRPr/>
              </a:pPr>
              <a:endParaRPr lang="en-US"/>
            </a:p>
          </p:txBody>
        </p:sp>
        <p:sp>
          <p:nvSpPr>
            <p:cNvPr id="15" name="Freeform 15"/>
            <p:cNvSpPr>
              <a:spLocks noChangeAspect="1"/>
            </p:cNvSpPr>
            <p:nvPr/>
          </p:nvSpPr>
          <p:spPr bwMode="gray">
            <a:xfrm>
              <a:off x="4682" y="2166"/>
              <a:ext cx="939" cy="659"/>
            </a:xfrm>
            <a:custGeom>
              <a:avLst/>
              <a:gdLst>
                <a:gd name="T0" fmla="*/ 199 w 1878"/>
                <a:gd name="T1" fmla="*/ 774 h 1317"/>
                <a:gd name="T2" fmla="*/ 199 w 1878"/>
                <a:gd name="T3" fmla="*/ 836 h 1317"/>
                <a:gd name="T4" fmla="*/ 188 w 1878"/>
                <a:gd name="T5" fmla="*/ 893 h 1317"/>
                <a:gd name="T6" fmla="*/ 108 w 1878"/>
                <a:gd name="T7" fmla="*/ 912 h 1317"/>
                <a:gd name="T8" fmla="*/ 137 w 1878"/>
                <a:gd name="T9" fmla="*/ 971 h 1317"/>
                <a:gd name="T10" fmla="*/ 239 w 1878"/>
                <a:gd name="T11" fmla="*/ 945 h 1317"/>
                <a:gd name="T12" fmla="*/ 456 w 1878"/>
                <a:gd name="T13" fmla="*/ 802 h 1317"/>
                <a:gd name="T14" fmla="*/ 602 w 1878"/>
                <a:gd name="T15" fmla="*/ 912 h 1317"/>
                <a:gd name="T16" fmla="*/ 640 w 1878"/>
                <a:gd name="T17" fmla="*/ 870 h 1317"/>
                <a:gd name="T18" fmla="*/ 886 w 1878"/>
                <a:gd name="T19" fmla="*/ 825 h 1317"/>
                <a:gd name="T20" fmla="*/ 1026 w 1878"/>
                <a:gd name="T21" fmla="*/ 937 h 1317"/>
                <a:gd name="T22" fmla="*/ 1017 w 1878"/>
                <a:gd name="T23" fmla="*/ 1125 h 1317"/>
                <a:gd name="T24" fmla="*/ 1055 w 1878"/>
                <a:gd name="T25" fmla="*/ 1144 h 1317"/>
                <a:gd name="T26" fmla="*/ 1064 w 1878"/>
                <a:gd name="T27" fmla="*/ 1317 h 1317"/>
                <a:gd name="T28" fmla="*/ 1439 w 1878"/>
                <a:gd name="T29" fmla="*/ 1300 h 1317"/>
                <a:gd name="T30" fmla="*/ 1504 w 1878"/>
                <a:gd name="T31" fmla="*/ 1192 h 1317"/>
                <a:gd name="T32" fmla="*/ 1796 w 1878"/>
                <a:gd name="T33" fmla="*/ 1281 h 1317"/>
                <a:gd name="T34" fmla="*/ 1770 w 1878"/>
                <a:gd name="T35" fmla="*/ 1095 h 1317"/>
                <a:gd name="T36" fmla="*/ 1869 w 1878"/>
                <a:gd name="T37" fmla="*/ 899 h 1317"/>
                <a:gd name="T38" fmla="*/ 1829 w 1878"/>
                <a:gd name="T39" fmla="*/ 794 h 1317"/>
                <a:gd name="T40" fmla="*/ 1867 w 1878"/>
                <a:gd name="T41" fmla="*/ 734 h 1317"/>
                <a:gd name="T42" fmla="*/ 1775 w 1878"/>
                <a:gd name="T43" fmla="*/ 498 h 1317"/>
                <a:gd name="T44" fmla="*/ 1878 w 1878"/>
                <a:gd name="T45" fmla="*/ 441 h 1317"/>
                <a:gd name="T46" fmla="*/ 1846 w 1878"/>
                <a:gd name="T47" fmla="*/ 334 h 1317"/>
                <a:gd name="T48" fmla="*/ 1656 w 1878"/>
                <a:gd name="T49" fmla="*/ 207 h 1317"/>
                <a:gd name="T50" fmla="*/ 1589 w 1878"/>
                <a:gd name="T51" fmla="*/ 207 h 1317"/>
                <a:gd name="T52" fmla="*/ 1568 w 1878"/>
                <a:gd name="T53" fmla="*/ 101 h 1317"/>
                <a:gd name="T54" fmla="*/ 1329 w 1878"/>
                <a:gd name="T55" fmla="*/ 0 h 1317"/>
                <a:gd name="T56" fmla="*/ 986 w 1878"/>
                <a:gd name="T57" fmla="*/ 112 h 1317"/>
                <a:gd name="T58" fmla="*/ 850 w 1878"/>
                <a:gd name="T59" fmla="*/ 51 h 1317"/>
                <a:gd name="T60" fmla="*/ 703 w 1878"/>
                <a:gd name="T61" fmla="*/ 89 h 1317"/>
                <a:gd name="T62" fmla="*/ 699 w 1878"/>
                <a:gd name="T63" fmla="*/ 135 h 1317"/>
                <a:gd name="T64" fmla="*/ 519 w 1878"/>
                <a:gd name="T65" fmla="*/ 205 h 1317"/>
                <a:gd name="T66" fmla="*/ 483 w 1878"/>
                <a:gd name="T67" fmla="*/ 163 h 1317"/>
                <a:gd name="T68" fmla="*/ 350 w 1878"/>
                <a:gd name="T69" fmla="*/ 186 h 1317"/>
                <a:gd name="T70" fmla="*/ 275 w 1878"/>
                <a:gd name="T71" fmla="*/ 80 h 1317"/>
                <a:gd name="T72" fmla="*/ 116 w 1878"/>
                <a:gd name="T73" fmla="*/ 80 h 1317"/>
                <a:gd name="T74" fmla="*/ 76 w 1878"/>
                <a:gd name="T75" fmla="*/ 182 h 1317"/>
                <a:gd name="T76" fmla="*/ 133 w 1878"/>
                <a:gd name="T77" fmla="*/ 207 h 1317"/>
                <a:gd name="T78" fmla="*/ 133 w 1878"/>
                <a:gd name="T79" fmla="*/ 346 h 1317"/>
                <a:gd name="T80" fmla="*/ 26 w 1878"/>
                <a:gd name="T81" fmla="*/ 340 h 1317"/>
                <a:gd name="T82" fmla="*/ 0 w 1878"/>
                <a:gd name="T83" fmla="*/ 386 h 1317"/>
                <a:gd name="T84" fmla="*/ 0 w 1878"/>
                <a:gd name="T85" fmla="*/ 564 h 1317"/>
                <a:gd name="T86" fmla="*/ 133 w 1878"/>
                <a:gd name="T87" fmla="*/ 547 h 1317"/>
                <a:gd name="T88" fmla="*/ 190 w 1878"/>
                <a:gd name="T89" fmla="*/ 582 h 1317"/>
                <a:gd name="T90" fmla="*/ 190 w 1878"/>
                <a:gd name="T91" fmla="*/ 637 h 1317"/>
                <a:gd name="T92" fmla="*/ 266 w 1878"/>
                <a:gd name="T93" fmla="*/ 707 h 1317"/>
                <a:gd name="T94" fmla="*/ 196 w 1878"/>
                <a:gd name="T95" fmla="*/ 736 h 1317"/>
                <a:gd name="T96" fmla="*/ 199 w 1878"/>
                <a:gd name="T97" fmla="*/ 774 h 1317"/>
                <a:gd name="T98" fmla="*/ 199 w 1878"/>
                <a:gd name="T99" fmla="*/ 774 h 1317"/>
                <a:gd name="T100" fmla="*/ 199 w 1878"/>
                <a:gd name="T101" fmla="*/ 774 h 131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78"/>
                <a:gd name="T154" fmla="*/ 0 h 1317"/>
                <a:gd name="T155" fmla="*/ 1878 w 1878"/>
                <a:gd name="T156" fmla="*/ 1317 h 131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78" h="1317">
                  <a:moveTo>
                    <a:pt x="199" y="774"/>
                  </a:moveTo>
                  <a:lnTo>
                    <a:pt x="199" y="836"/>
                  </a:lnTo>
                  <a:lnTo>
                    <a:pt x="188" y="893"/>
                  </a:lnTo>
                  <a:lnTo>
                    <a:pt x="108" y="912"/>
                  </a:lnTo>
                  <a:lnTo>
                    <a:pt x="137" y="971"/>
                  </a:lnTo>
                  <a:lnTo>
                    <a:pt x="239" y="945"/>
                  </a:lnTo>
                  <a:lnTo>
                    <a:pt x="456" y="802"/>
                  </a:lnTo>
                  <a:lnTo>
                    <a:pt x="602" y="912"/>
                  </a:lnTo>
                  <a:lnTo>
                    <a:pt x="640" y="870"/>
                  </a:lnTo>
                  <a:lnTo>
                    <a:pt x="886" y="825"/>
                  </a:lnTo>
                  <a:lnTo>
                    <a:pt x="1026" y="937"/>
                  </a:lnTo>
                  <a:lnTo>
                    <a:pt x="1017" y="1125"/>
                  </a:lnTo>
                  <a:lnTo>
                    <a:pt x="1055" y="1144"/>
                  </a:lnTo>
                  <a:lnTo>
                    <a:pt x="1064" y="1317"/>
                  </a:lnTo>
                  <a:lnTo>
                    <a:pt x="1439" y="1300"/>
                  </a:lnTo>
                  <a:lnTo>
                    <a:pt x="1504" y="1192"/>
                  </a:lnTo>
                  <a:lnTo>
                    <a:pt x="1796" y="1281"/>
                  </a:lnTo>
                  <a:lnTo>
                    <a:pt x="1770" y="1095"/>
                  </a:lnTo>
                  <a:lnTo>
                    <a:pt x="1869" y="899"/>
                  </a:lnTo>
                  <a:lnTo>
                    <a:pt x="1829" y="794"/>
                  </a:lnTo>
                  <a:lnTo>
                    <a:pt x="1867" y="734"/>
                  </a:lnTo>
                  <a:lnTo>
                    <a:pt x="1775" y="498"/>
                  </a:lnTo>
                  <a:lnTo>
                    <a:pt x="1878" y="441"/>
                  </a:lnTo>
                  <a:lnTo>
                    <a:pt x="1846" y="334"/>
                  </a:lnTo>
                  <a:lnTo>
                    <a:pt x="1656" y="207"/>
                  </a:lnTo>
                  <a:lnTo>
                    <a:pt x="1589" y="207"/>
                  </a:lnTo>
                  <a:lnTo>
                    <a:pt x="1568" y="101"/>
                  </a:lnTo>
                  <a:lnTo>
                    <a:pt x="1329" y="0"/>
                  </a:lnTo>
                  <a:lnTo>
                    <a:pt x="986" y="112"/>
                  </a:lnTo>
                  <a:lnTo>
                    <a:pt x="850" y="51"/>
                  </a:lnTo>
                  <a:lnTo>
                    <a:pt x="703" y="89"/>
                  </a:lnTo>
                  <a:lnTo>
                    <a:pt x="699" y="135"/>
                  </a:lnTo>
                  <a:lnTo>
                    <a:pt x="519" y="205"/>
                  </a:lnTo>
                  <a:lnTo>
                    <a:pt x="483" y="163"/>
                  </a:lnTo>
                  <a:lnTo>
                    <a:pt x="350" y="186"/>
                  </a:lnTo>
                  <a:lnTo>
                    <a:pt x="275" y="80"/>
                  </a:lnTo>
                  <a:lnTo>
                    <a:pt x="116" y="80"/>
                  </a:lnTo>
                  <a:lnTo>
                    <a:pt x="76" y="182"/>
                  </a:lnTo>
                  <a:lnTo>
                    <a:pt x="133" y="207"/>
                  </a:lnTo>
                  <a:lnTo>
                    <a:pt x="133" y="346"/>
                  </a:lnTo>
                  <a:lnTo>
                    <a:pt x="26" y="340"/>
                  </a:lnTo>
                  <a:lnTo>
                    <a:pt x="0" y="386"/>
                  </a:lnTo>
                  <a:lnTo>
                    <a:pt x="0" y="564"/>
                  </a:lnTo>
                  <a:lnTo>
                    <a:pt x="133" y="547"/>
                  </a:lnTo>
                  <a:lnTo>
                    <a:pt x="190" y="582"/>
                  </a:lnTo>
                  <a:lnTo>
                    <a:pt x="190" y="637"/>
                  </a:lnTo>
                  <a:lnTo>
                    <a:pt x="266" y="707"/>
                  </a:lnTo>
                  <a:lnTo>
                    <a:pt x="196" y="736"/>
                  </a:lnTo>
                  <a:lnTo>
                    <a:pt x="199" y="774"/>
                  </a:lnTo>
                  <a:close/>
                </a:path>
              </a:pathLst>
            </a:custGeom>
            <a:grpFill/>
            <a:ln w="12700">
              <a:solidFill>
                <a:schemeClr val="bg1"/>
              </a:solidFill>
              <a:round/>
              <a:headEnd/>
              <a:tailEnd/>
            </a:ln>
          </p:spPr>
          <p:txBody>
            <a:bodyPr/>
            <a:lstStyle/>
            <a:p>
              <a:pPr>
                <a:defRPr/>
              </a:pPr>
              <a:endParaRPr lang="en-US"/>
            </a:p>
          </p:txBody>
        </p:sp>
        <p:sp>
          <p:nvSpPr>
            <p:cNvPr id="16" name="Freeform 16"/>
            <p:cNvSpPr>
              <a:spLocks noChangeAspect="1"/>
            </p:cNvSpPr>
            <p:nvPr/>
          </p:nvSpPr>
          <p:spPr bwMode="gray">
            <a:xfrm>
              <a:off x="5005" y="1504"/>
              <a:ext cx="974" cy="881"/>
            </a:xfrm>
            <a:custGeom>
              <a:avLst/>
              <a:gdLst>
                <a:gd name="T0" fmla="*/ 1802 w 1949"/>
                <a:gd name="T1" fmla="*/ 789 h 1762"/>
                <a:gd name="T2" fmla="*/ 1854 w 1949"/>
                <a:gd name="T3" fmla="*/ 378 h 1762"/>
                <a:gd name="T4" fmla="*/ 1550 w 1949"/>
                <a:gd name="T5" fmla="*/ 264 h 1762"/>
                <a:gd name="T6" fmla="*/ 1398 w 1949"/>
                <a:gd name="T7" fmla="*/ 355 h 1762"/>
                <a:gd name="T8" fmla="*/ 960 w 1949"/>
                <a:gd name="T9" fmla="*/ 188 h 1762"/>
                <a:gd name="T10" fmla="*/ 785 w 1949"/>
                <a:gd name="T11" fmla="*/ 203 h 1762"/>
                <a:gd name="T12" fmla="*/ 453 w 1949"/>
                <a:gd name="T13" fmla="*/ 0 h 1762"/>
                <a:gd name="T14" fmla="*/ 409 w 1949"/>
                <a:gd name="T15" fmla="*/ 135 h 1762"/>
                <a:gd name="T16" fmla="*/ 399 w 1949"/>
                <a:gd name="T17" fmla="*/ 295 h 1762"/>
                <a:gd name="T18" fmla="*/ 291 w 1949"/>
                <a:gd name="T19" fmla="*/ 268 h 1762"/>
                <a:gd name="T20" fmla="*/ 190 w 1949"/>
                <a:gd name="T21" fmla="*/ 479 h 1762"/>
                <a:gd name="T22" fmla="*/ 283 w 1949"/>
                <a:gd name="T23" fmla="*/ 511 h 1762"/>
                <a:gd name="T24" fmla="*/ 299 w 1949"/>
                <a:gd name="T25" fmla="*/ 584 h 1762"/>
                <a:gd name="T26" fmla="*/ 354 w 1949"/>
                <a:gd name="T27" fmla="*/ 610 h 1762"/>
                <a:gd name="T28" fmla="*/ 354 w 1949"/>
                <a:gd name="T29" fmla="*/ 682 h 1762"/>
                <a:gd name="T30" fmla="*/ 394 w 1949"/>
                <a:gd name="T31" fmla="*/ 781 h 1762"/>
                <a:gd name="T32" fmla="*/ 365 w 1949"/>
                <a:gd name="T33" fmla="*/ 871 h 1762"/>
                <a:gd name="T34" fmla="*/ 291 w 1949"/>
                <a:gd name="T35" fmla="*/ 914 h 1762"/>
                <a:gd name="T36" fmla="*/ 141 w 1949"/>
                <a:gd name="T37" fmla="*/ 916 h 1762"/>
                <a:gd name="T38" fmla="*/ 44 w 1949"/>
                <a:gd name="T39" fmla="*/ 861 h 1762"/>
                <a:gd name="T40" fmla="*/ 44 w 1949"/>
                <a:gd name="T41" fmla="*/ 1000 h 1762"/>
                <a:gd name="T42" fmla="*/ 0 w 1949"/>
                <a:gd name="T43" fmla="*/ 1057 h 1762"/>
                <a:gd name="T44" fmla="*/ 110 w 1949"/>
                <a:gd name="T45" fmla="*/ 1177 h 1762"/>
                <a:gd name="T46" fmla="*/ 234 w 1949"/>
                <a:gd name="T47" fmla="*/ 1199 h 1762"/>
                <a:gd name="T48" fmla="*/ 234 w 1949"/>
                <a:gd name="T49" fmla="*/ 1266 h 1762"/>
                <a:gd name="T50" fmla="*/ 198 w 1949"/>
                <a:gd name="T51" fmla="*/ 1293 h 1762"/>
                <a:gd name="T52" fmla="*/ 198 w 1949"/>
                <a:gd name="T53" fmla="*/ 1378 h 1762"/>
                <a:gd name="T54" fmla="*/ 340 w 1949"/>
                <a:gd name="T55" fmla="*/ 1437 h 1762"/>
                <a:gd name="T56" fmla="*/ 683 w 1949"/>
                <a:gd name="T57" fmla="*/ 1325 h 1762"/>
                <a:gd name="T58" fmla="*/ 922 w 1949"/>
                <a:gd name="T59" fmla="*/ 1426 h 1762"/>
                <a:gd name="T60" fmla="*/ 943 w 1949"/>
                <a:gd name="T61" fmla="*/ 1532 h 1762"/>
                <a:gd name="T62" fmla="*/ 1010 w 1949"/>
                <a:gd name="T63" fmla="*/ 1532 h 1762"/>
                <a:gd name="T64" fmla="*/ 1200 w 1949"/>
                <a:gd name="T65" fmla="*/ 1659 h 1762"/>
                <a:gd name="T66" fmla="*/ 1232 w 1949"/>
                <a:gd name="T67" fmla="*/ 1762 h 1762"/>
                <a:gd name="T68" fmla="*/ 1394 w 1949"/>
                <a:gd name="T69" fmla="*/ 1680 h 1762"/>
                <a:gd name="T70" fmla="*/ 1342 w 1949"/>
                <a:gd name="T71" fmla="*/ 1587 h 1762"/>
                <a:gd name="T72" fmla="*/ 1407 w 1949"/>
                <a:gd name="T73" fmla="*/ 1528 h 1762"/>
                <a:gd name="T74" fmla="*/ 1342 w 1949"/>
                <a:gd name="T75" fmla="*/ 1414 h 1762"/>
                <a:gd name="T76" fmla="*/ 1342 w 1949"/>
                <a:gd name="T77" fmla="*/ 1346 h 1762"/>
                <a:gd name="T78" fmla="*/ 1432 w 1949"/>
                <a:gd name="T79" fmla="*/ 1329 h 1762"/>
                <a:gd name="T80" fmla="*/ 1426 w 1949"/>
                <a:gd name="T81" fmla="*/ 1249 h 1762"/>
                <a:gd name="T82" fmla="*/ 1493 w 1949"/>
                <a:gd name="T83" fmla="*/ 1192 h 1762"/>
                <a:gd name="T84" fmla="*/ 1544 w 1949"/>
                <a:gd name="T85" fmla="*/ 1215 h 1762"/>
                <a:gd name="T86" fmla="*/ 1618 w 1949"/>
                <a:gd name="T87" fmla="*/ 1110 h 1762"/>
                <a:gd name="T88" fmla="*/ 1692 w 1949"/>
                <a:gd name="T89" fmla="*/ 1110 h 1762"/>
                <a:gd name="T90" fmla="*/ 1766 w 1949"/>
                <a:gd name="T91" fmla="*/ 1066 h 1762"/>
                <a:gd name="T92" fmla="*/ 1835 w 1949"/>
                <a:gd name="T93" fmla="*/ 1099 h 1762"/>
                <a:gd name="T94" fmla="*/ 1879 w 1949"/>
                <a:gd name="T95" fmla="*/ 1101 h 1762"/>
                <a:gd name="T96" fmla="*/ 1898 w 1949"/>
                <a:gd name="T97" fmla="*/ 1057 h 1762"/>
                <a:gd name="T98" fmla="*/ 1844 w 1949"/>
                <a:gd name="T99" fmla="*/ 1013 h 1762"/>
                <a:gd name="T100" fmla="*/ 1949 w 1949"/>
                <a:gd name="T101" fmla="*/ 1000 h 1762"/>
                <a:gd name="T102" fmla="*/ 1802 w 1949"/>
                <a:gd name="T103" fmla="*/ 789 h 1762"/>
                <a:gd name="T104" fmla="*/ 1802 w 1949"/>
                <a:gd name="T105" fmla="*/ 789 h 1762"/>
                <a:gd name="T106" fmla="*/ 1802 w 1949"/>
                <a:gd name="T107" fmla="*/ 789 h 17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9"/>
                <a:gd name="T163" fmla="*/ 0 h 1762"/>
                <a:gd name="T164" fmla="*/ 1949 w 1949"/>
                <a:gd name="T165" fmla="*/ 1762 h 17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9" h="1762">
                  <a:moveTo>
                    <a:pt x="1802" y="789"/>
                  </a:moveTo>
                  <a:lnTo>
                    <a:pt x="1854" y="378"/>
                  </a:lnTo>
                  <a:lnTo>
                    <a:pt x="1550" y="264"/>
                  </a:lnTo>
                  <a:lnTo>
                    <a:pt x="1398" y="355"/>
                  </a:lnTo>
                  <a:lnTo>
                    <a:pt x="960" y="188"/>
                  </a:lnTo>
                  <a:lnTo>
                    <a:pt x="785" y="203"/>
                  </a:lnTo>
                  <a:lnTo>
                    <a:pt x="453" y="0"/>
                  </a:lnTo>
                  <a:lnTo>
                    <a:pt x="409" y="135"/>
                  </a:lnTo>
                  <a:lnTo>
                    <a:pt x="399" y="295"/>
                  </a:lnTo>
                  <a:lnTo>
                    <a:pt x="291" y="268"/>
                  </a:lnTo>
                  <a:lnTo>
                    <a:pt x="190" y="479"/>
                  </a:lnTo>
                  <a:lnTo>
                    <a:pt x="283" y="511"/>
                  </a:lnTo>
                  <a:lnTo>
                    <a:pt x="299" y="584"/>
                  </a:lnTo>
                  <a:lnTo>
                    <a:pt x="354" y="610"/>
                  </a:lnTo>
                  <a:lnTo>
                    <a:pt x="354" y="682"/>
                  </a:lnTo>
                  <a:lnTo>
                    <a:pt x="394" y="781"/>
                  </a:lnTo>
                  <a:lnTo>
                    <a:pt x="365" y="871"/>
                  </a:lnTo>
                  <a:lnTo>
                    <a:pt x="291" y="914"/>
                  </a:lnTo>
                  <a:lnTo>
                    <a:pt x="141" y="916"/>
                  </a:lnTo>
                  <a:lnTo>
                    <a:pt x="44" y="861"/>
                  </a:lnTo>
                  <a:lnTo>
                    <a:pt x="44" y="1000"/>
                  </a:lnTo>
                  <a:lnTo>
                    <a:pt x="0" y="1057"/>
                  </a:lnTo>
                  <a:lnTo>
                    <a:pt x="110" y="1177"/>
                  </a:lnTo>
                  <a:lnTo>
                    <a:pt x="234" y="1199"/>
                  </a:lnTo>
                  <a:lnTo>
                    <a:pt x="234" y="1266"/>
                  </a:lnTo>
                  <a:lnTo>
                    <a:pt x="198" y="1293"/>
                  </a:lnTo>
                  <a:lnTo>
                    <a:pt x="198" y="1378"/>
                  </a:lnTo>
                  <a:lnTo>
                    <a:pt x="340" y="1437"/>
                  </a:lnTo>
                  <a:lnTo>
                    <a:pt x="683" y="1325"/>
                  </a:lnTo>
                  <a:lnTo>
                    <a:pt x="922" y="1426"/>
                  </a:lnTo>
                  <a:lnTo>
                    <a:pt x="943" y="1532"/>
                  </a:lnTo>
                  <a:lnTo>
                    <a:pt x="1010" y="1532"/>
                  </a:lnTo>
                  <a:lnTo>
                    <a:pt x="1200" y="1659"/>
                  </a:lnTo>
                  <a:lnTo>
                    <a:pt x="1232" y="1762"/>
                  </a:lnTo>
                  <a:lnTo>
                    <a:pt x="1394" y="1680"/>
                  </a:lnTo>
                  <a:lnTo>
                    <a:pt x="1342" y="1587"/>
                  </a:lnTo>
                  <a:lnTo>
                    <a:pt x="1407" y="1528"/>
                  </a:lnTo>
                  <a:lnTo>
                    <a:pt x="1342" y="1414"/>
                  </a:lnTo>
                  <a:lnTo>
                    <a:pt x="1342" y="1346"/>
                  </a:lnTo>
                  <a:lnTo>
                    <a:pt x="1432" y="1329"/>
                  </a:lnTo>
                  <a:lnTo>
                    <a:pt x="1426" y="1249"/>
                  </a:lnTo>
                  <a:lnTo>
                    <a:pt x="1493" y="1192"/>
                  </a:lnTo>
                  <a:lnTo>
                    <a:pt x="1544" y="1215"/>
                  </a:lnTo>
                  <a:lnTo>
                    <a:pt x="1618" y="1110"/>
                  </a:lnTo>
                  <a:lnTo>
                    <a:pt x="1692" y="1110"/>
                  </a:lnTo>
                  <a:lnTo>
                    <a:pt x="1766" y="1066"/>
                  </a:lnTo>
                  <a:lnTo>
                    <a:pt x="1835" y="1099"/>
                  </a:lnTo>
                  <a:lnTo>
                    <a:pt x="1879" y="1101"/>
                  </a:lnTo>
                  <a:lnTo>
                    <a:pt x="1898" y="1057"/>
                  </a:lnTo>
                  <a:lnTo>
                    <a:pt x="1844" y="1013"/>
                  </a:lnTo>
                  <a:lnTo>
                    <a:pt x="1949" y="1000"/>
                  </a:lnTo>
                  <a:lnTo>
                    <a:pt x="1802" y="789"/>
                  </a:lnTo>
                  <a:close/>
                </a:path>
              </a:pathLst>
            </a:custGeom>
            <a:grpFill/>
            <a:ln w="12700">
              <a:solidFill>
                <a:schemeClr val="bg1"/>
              </a:solidFill>
              <a:round/>
              <a:headEnd/>
              <a:tailEnd/>
            </a:ln>
          </p:spPr>
          <p:txBody>
            <a:bodyPr/>
            <a:lstStyle/>
            <a:p>
              <a:pPr>
                <a:defRPr/>
              </a:pPr>
              <a:endParaRPr lang="en-US"/>
            </a:p>
          </p:txBody>
        </p:sp>
        <p:sp>
          <p:nvSpPr>
            <p:cNvPr id="17" name="Freeform 17"/>
            <p:cNvSpPr>
              <a:spLocks noChangeAspect="1"/>
            </p:cNvSpPr>
            <p:nvPr/>
          </p:nvSpPr>
          <p:spPr bwMode="gray">
            <a:xfrm>
              <a:off x="5569" y="2004"/>
              <a:ext cx="435" cy="703"/>
            </a:xfrm>
            <a:custGeom>
              <a:avLst/>
              <a:gdLst>
                <a:gd name="T0" fmla="*/ 397 w 870"/>
                <a:gd name="T1" fmla="*/ 1192 h 1406"/>
                <a:gd name="T2" fmla="*/ 351 w 870"/>
                <a:gd name="T3" fmla="*/ 1015 h 1406"/>
                <a:gd name="T4" fmla="*/ 336 w 870"/>
                <a:gd name="T5" fmla="*/ 783 h 1406"/>
                <a:gd name="T6" fmla="*/ 519 w 870"/>
                <a:gd name="T7" fmla="*/ 699 h 1406"/>
                <a:gd name="T8" fmla="*/ 505 w 870"/>
                <a:gd name="T9" fmla="*/ 568 h 1406"/>
                <a:gd name="T10" fmla="*/ 351 w 870"/>
                <a:gd name="T11" fmla="*/ 507 h 1406"/>
                <a:gd name="T12" fmla="*/ 446 w 870"/>
                <a:gd name="T13" fmla="*/ 405 h 1406"/>
                <a:gd name="T14" fmla="*/ 732 w 870"/>
                <a:gd name="T15" fmla="*/ 488 h 1406"/>
                <a:gd name="T16" fmla="*/ 815 w 870"/>
                <a:gd name="T17" fmla="*/ 405 h 1406"/>
                <a:gd name="T18" fmla="*/ 735 w 870"/>
                <a:gd name="T19" fmla="*/ 281 h 1406"/>
                <a:gd name="T20" fmla="*/ 870 w 870"/>
                <a:gd name="T21" fmla="*/ 64 h 1406"/>
                <a:gd name="T22" fmla="*/ 821 w 870"/>
                <a:gd name="T23" fmla="*/ 0 h 1406"/>
                <a:gd name="T24" fmla="*/ 716 w 870"/>
                <a:gd name="T25" fmla="*/ 13 h 1406"/>
                <a:gd name="T26" fmla="*/ 770 w 870"/>
                <a:gd name="T27" fmla="*/ 57 h 1406"/>
                <a:gd name="T28" fmla="*/ 751 w 870"/>
                <a:gd name="T29" fmla="*/ 101 h 1406"/>
                <a:gd name="T30" fmla="*/ 707 w 870"/>
                <a:gd name="T31" fmla="*/ 99 h 1406"/>
                <a:gd name="T32" fmla="*/ 638 w 870"/>
                <a:gd name="T33" fmla="*/ 66 h 1406"/>
                <a:gd name="T34" fmla="*/ 564 w 870"/>
                <a:gd name="T35" fmla="*/ 110 h 1406"/>
                <a:gd name="T36" fmla="*/ 490 w 870"/>
                <a:gd name="T37" fmla="*/ 110 h 1406"/>
                <a:gd name="T38" fmla="*/ 416 w 870"/>
                <a:gd name="T39" fmla="*/ 215 h 1406"/>
                <a:gd name="T40" fmla="*/ 365 w 870"/>
                <a:gd name="T41" fmla="*/ 192 h 1406"/>
                <a:gd name="T42" fmla="*/ 298 w 870"/>
                <a:gd name="T43" fmla="*/ 249 h 1406"/>
                <a:gd name="T44" fmla="*/ 304 w 870"/>
                <a:gd name="T45" fmla="*/ 329 h 1406"/>
                <a:gd name="T46" fmla="*/ 214 w 870"/>
                <a:gd name="T47" fmla="*/ 346 h 1406"/>
                <a:gd name="T48" fmla="*/ 214 w 870"/>
                <a:gd name="T49" fmla="*/ 414 h 1406"/>
                <a:gd name="T50" fmla="*/ 279 w 870"/>
                <a:gd name="T51" fmla="*/ 528 h 1406"/>
                <a:gd name="T52" fmla="*/ 214 w 870"/>
                <a:gd name="T53" fmla="*/ 587 h 1406"/>
                <a:gd name="T54" fmla="*/ 266 w 870"/>
                <a:gd name="T55" fmla="*/ 680 h 1406"/>
                <a:gd name="T56" fmla="*/ 106 w 870"/>
                <a:gd name="T57" fmla="*/ 762 h 1406"/>
                <a:gd name="T58" fmla="*/ 104 w 870"/>
                <a:gd name="T59" fmla="*/ 766 h 1406"/>
                <a:gd name="T60" fmla="*/ 1 w 870"/>
                <a:gd name="T61" fmla="*/ 823 h 1406"/>
                <a:gd name="T62" fmla="*/ 93 w 870"/>
                <a:gd name="T63" fmla="*/ 1059 h 1406"/>
                <a:gd name="T64" fmla="*/ 55 w 870"/>
                <a:gd name="T65" fmla="*/ 1119 h 1406"/>
                <a:gd name="T66" fmla="*/ 95 w 870"/>
                <a:gd name="T67" fmla="*/ 1224 h 1406"/>
                <a:gd name="T68" fmla="*/ 0 w 870"/>
                <a:gd name="T69" fmla="*/ 1406 h 1406"/>
                <a:gd name="T70" fmla="*/ 397 w 870"/>
                <a:gd name="T71" fmla="*/ 1192 h 1406"/>
                <a:gd name="T72" fmla="*/ 397 w 870"/>
                <a:gd name="T73" fmla="*/ 1192 h 1406"/>
                <a:gd name="T74" fmla="*/ 397 w 870"/>
                <a:gd name="T75" fmla="*/ 1192 h 14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70"/>
                <a:gd name="T115" fmla="*/ 0 h 1406"/>
                <a:gd name="T116" fmla="*/ 870 w 870"/>
                <a:gd name="T117" fmla="*/ 1406 h 14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70" h="1406">
                  <a:moveTo>
                    <a:pt x="397" y="1192"/>
                  </a:moveTo>
                  <a:lnTo>
                    <a:pt x="351" y="1015"/>
                  </a:lnTo>
                  <a:lnTo>
                    <a:pt x="336" y="783"/>
                  </a:lnTo>
                  <a:lnTo>
                    <a:pt x="519" y="699"/>
                  </a:lnTo>
                  <a:lnTo>
                    <a:pt x="505" y="568"/>
                  </a:lnTo>
                  <a:lnTo>
                    <a:pt x="351" y="507"/>
                  </a:lnTo>
                  <a:lnTo>
                    <a:pt x="446" y="405"/>
                  </a:lnTo>
                  <a:lnTo>
                    <a:pt x="732" y="488"/>
                  </a:lnTo>
                  <a:lnTo>
                    <a:pt x="815" y="405"/>
                  </a:lnTo>
                  <a:lnTo>
                    <a:pt x="735" y="281"/>
                  </a:lnTo>
                  <a:lnTo>
                    <a:pt x="870" y="64"/>
                  </a:lnTo>
                  <a:lnTo>
                    <a:pt x="821" y="0"/>
                  </a:lnTo>
                  <a:lnTo>
                    <a:pt x="716" y="13"/>
                  </a:lnTo>
                  <a:lnTo>
                    <a:pt x="770" y="57"/>
                  </a:lnTo>
                  <a:lnTo>
                    <a:pt x="751" y="101"/>
                  </a:lnTo>
                  <a:lnTo>
                    <a:pt x="707" y="99"/>
                  </a:lnTo>
                  <a:lnTo>
                    <a:pt x="638" y="66"/>
                  </a:lnTo>
                  <a:lnTo>
                    <a:pt x="564" y="110"/>
                  </a:lnTo>
                  <a:lnTo>
                    <a:pt x="490" y="110"/>
                  </a:lnTo>
                  <a:lnTo>
                    <a:pt x="416" y="215"/>
                  </a:lnTo>
                  <a:lnTo>
                    <a:pt x="365" y="192"/>
                  </a:lnTo>
                  <a:lnTo>
                    <a:pt x="298" y="249"/>
                  </a:lnTo>
                  <a:lnTo>
                    <a:pt x="304" y="329"/>
                  </a:lnTo>
                  <a:lnTo>
                    <a:pt x="214" y="346"/>
                  </a:lnTo>
                  <a:lnTo>
                    <a:pt x="214" y="414"/>
                  </a:lnTo>
                  <a:lnTo>
                    <a:pt x="279" y="528"/>
                  </a:lnTo>
                  <a:lnTo>
                    <a:pt x="214" y="587"/>
                  </a:lnTo>
                  <a:lnTo>
                    <a:pt x="266" y="680"/>
                  </a:lnTo>
                  <a:lnTo>
                    <a:pt x="106" y="762"/>
                  </a:lnTo>
                  <a:lnTo>
                    <a:pt x="104" y="766"/>
                  </a:lnTo>
                  <a:lnTo>
                    <a:pt x="1" y="823"/>
                  </a:lnTo>
                  <a:lnTo>
                    <a:pt x="93" y="1059"/>
                  </a:lnTo>
                  <a:lnTo>
                    <a:pt x="55" y="1119"/>
                  </a:lnTo>
                  <a:lnTo>
                    <a:pt x="95" y="1224"/>
                  </a:lnTo>
                  <a:lnTo>
                    <a:pt x="0" y="1406"/>
                  </a:lnTo>
                  <a:lnTo>
                    <a:pt x="397" y="1192"/>
                  </a:lnTo>
                  <a:close/>
                </a:path>
              </a:pathLst>
            </a:custGeom>
            <a:grpFill/>
            <a:ln w="12700">
              <a:solidFill>
                <a:schemeClr val="bg1"/>
              </a:solidFill>
              <a:round/>
              <a:headEnd/>
              <a:tailEnd/>
            </a:ln>
          </p:spPr>
          <p:txBody>
            <a:bodyPr/>
            <a:lstStyle/>
            <a:p>
              <a:pPr>
                <a:defRPr/>
              </a:pPr>
              <a:endParaRPr lang="en-US"/>
            </a:p>
          </p:txBody>
        </p:sp>
        <p:sp>
          <p:nvSpPr>
            <p:cNvPr id="18" name="Freeform 18"/>
            <p:cNvSpPr>
              <a:spLocks noChangeAspect="1"/>
            </p:cNvSpPr>
            <p:nvPr/>
          </p:nvSpPr>
          <p:spPr bwMode="gray">
            <a:xfrm>
              <a:off x="5629" y="1895"/>
              <a:ext cx="173" cy="111"/>
            </a:xfrm>
            <a:custGeom>
              <a:avLst/>
              <a:gdLst>
                <a:gd name="T0" fmla="*/ 253 w 346"/>
                <a:gd name="T1" fmla="*/ 2 h 223"/>
                <a:gd name="T2" fmla="*/ 198 w 346"/>
                <a:gd name="T3" fmla="*/ 0 h 223"/>
                <a:gd name="T4" fmla="*/ 151 w 346"/>
                <a:gd name="T5" fmla="*/ 29 h 223"/>
                <a:gd name="T6" fmla="*/ 76 w 346"/>
                <a:gd name="T7" fmla="*/ 44 h 223"/>
                <a:gd name="T8" fmla="*/ 61 w 346"/>
                <a:gd name="T9" fmla="*/ 74 h 223"/>
                <a:gd name="T10" fmla="*/ 21 w 346"/>
                <a:gd name="T11" fmla="*/ 101 h 223"/>
                <a:gd name="T12" fmla="*/ 0 w 346"/>
                <a:gd name="T13" fmla="*/ 143 h 223"/>
                <a:gd name="T14" fmla="*/ 40 w 346"/>
                <a:gd name="T15" fmla="*/ 213 h 223"/>
                <a:gd name="T16" fmla="*/ 74 w 346"/>
                <a:gd name="T17" fmla="*/ 219 h 223"/>
                <a:gd name="T18" fmla="*/ 111 w 346"/>
                <a:gd name="T19" fmla="*/ 202 h 223"/>
                <a:gd name="T20" fmla="*/ 198 w 346"/>
                <a:gd name="T21" fmla="*/ 223 h 223"/>
                <a:gd name="T22" fmla="*/ 247 w 346"/>
                <a:gd name="T23" fmla="*/ 179 h 223"/>
                <a:gd name="T24" fmla="*/ 346 w 346"/>
                <a:gd name="T25" fmla="*/ 192 h 223"/>
                <a:gd name="T26" fmla="*/ 346 w 346"/>
                <a:gd name="T27" fmla="*/ 175 h 223"/>
                <a:gd name="T28" fmla="*/ 308 w 346"/>
                <a:gd name="T29" fmla="*/ 124 h 223"/>
                <a:gd name="T30" fmla="*/ 310 w 346"/>
                <a:gd name="T31" fmla="*/ 55 h 223"/>
                <a:gd name="T32" fmla="*/ 272 w 346"/>
                <a:gd name="T33" fmla="*/ 48 h 223"/>
                <a:gd name="T34" fmla="*/ 253 w 346"/>
                <a:gd name="T35" fmla="*/ 2 h 223"/>
                <a:gd name="T36" fmla="*/ 253 w 346"/>
                <a:gd name="T37" fmla="*/ 2 h 223"/>
                <a:gd name="T38" fmla="*/ 253 w 346"/>
                <a:gd name="T39" fmla="*/ 2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6"/>
                <a:gd name="T61" fmla="*/ 0 h 223"/>
                <a:gd name="T62" fmla="*/ 346 w 34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6" h="223">
                  <a:moveTo>
                    <a:pt x="253" y="2"/>
                  </a:moveTo>
                  <a:lnTo>
                    <a:pt x="198" y="0"/>
                  </a:lnTo>
                  <a:lnTo>
                    <a:pt x="151" y="29"/>
                  </a:lnTo>
                  <a:lnTo>
                    <a:pt x="76" y="44"/>
                  </a:lnTo>
                  <a:lnTo>
                    <a:pt x="61" y="74"/>
                  </a:lnTo>
                  <a:lnTo>
                    <a:pt x="21" y="101"/>
                  </a:lnTo>
                  <a:lnTo>
                    <a:pt x="0" y="143"/>
                  </a:lnTo>
                  <a:lnTo>
                    <a:pt x="40" y="213"/>
                  </a:lnTo>
                  <a:lnTo>
                    <a:pt x="74" y="219"/>
                  </a:lnTo>
                  <a:lnTo>
                    <a:pt x="111" y="202"/>
                  </a:lnTo>
                  <a:lnTo>
                    <a:pt x="198" y="223"/>
                  </a:lnTo>
                  <a:lnTo>
                    <a:pt x="247" y="179"/>
                  </a:lnTo>
                  <a:lnTo>
                    <a:pt x="346" y="192"/>
                  </a:lnTo>
                  <a:lnTo>
                    <a:pt x="346" y="175"/>
                  </a:lnTo>
                  <a:lnTo>
                    <a:pt x="308" y="124"/>
                  </a:lnTo>
                  <a:lnTo>
                    <a:pt x="310" y="55"/>
                  </a:lnTo>
                  <a:lnTo>
                    <a:pt x="272" y="48"/>
                  </a:lnTo>
                  <a:lnTo>
                    <a:pt x="253" y="2"/>
                  </a:lnTo>
                  <a:close/>
                </a:path>
              </a:pathLst>
            </a:custGeom>
            <a:grpFill/>
            <a:ln w="12700">
              <a:solidFill>
                <a:schemeClr val="bg1"/>
              </a:solidFill>
              <a:round/>
              <a:headEnd/>
              <a:tailEnd/>
            </a:ln>
          </p:spPr>
          <p:txBody>
            <a:bodyPr/>
            <a:lstStyle/>
            <a:p>
              <a:pPr>
                <a:defRPr/>
              </a:pPr>
              <a:endParaRPr lang="en-US"/>
            </a:p>
          </p:txBody>
        </p:sp>
      </p:grpSp>
      <p:sp>
        <p:nvSpPr>
          <p:cNvPr id="21" name="Legende mit Linie 1 4">
            <a:extLst>
              <a:ext uri="{FF2B5EF4-FFF2-40B4-BE49-F238E27FC236}">
                <a16:creationId xmlns:a16="http://schemas.microsoft.com/office/drawing/2014/main" id="{946C66F4-52B7-4AFC-8A1F-867174728B9E}"/>
              </a:ext>
            </a:extLst>
          </p:cNvPr>
          <p:cNvSpPr/>
          <p:nvPr/>
        </p:nvSpPr>
        <p:spPr>
          <a:xfrm>
            <a:off x="8229600" y="5560110"/>
            <a:ext cx="3499539" cy="576554"/>
          </a:xfrm>
          <a:prstGeom prst="borderCallout1">
            <a:avLst>
              <a:gd name="adj1" fmla="val 18750"/>
              <a:gd name="adj2" fmla="val -8333"/>
              <a:gd name="adj3" fmla="val -11909"/>
              <a:gd name="adj4" fmla="val -24680"/>
            </a:avLst>
          </a:prstGeom>
          <a:solidFill>
            <a:srgbClr val="C7FCD0"/>
          </a:solidFill>
          <a:ln w="12700" cap="flat" cmpd="sng" algn="ctr">
            <a:solidFill>
              <a:srgbClr val="333F4C"/>
            </a:solidFill>
            <a:prstDash val="solid"/>
            <a:miter lim="800000"/>
          </a:ln>
          <a:effectLst/>
        </p:spPr>
        <p:txBody>
          <a:bodyPr rtlCol="0" anchor="ctr"/>
          <a:lstStyle/>
          <a:p>
            <a:pPr marR="0" lvl="0" defTabSz="914446" eaLnBrk="1" fontAlgn="auto" latinLnBrk="0" hangingPunct="1">
              <a:lnSpc>
                <a:spcPct val="100000"/>
              </a:lnSpc>
              <a:spcBef>
                <a:spcPts val="0"/>
              </a:spcBef>
              <a:spcAft>
                <a:spcPts val="0"/>
              </a:spcAft>
              <a:buClrTx/>
              <a:buSzTx/>
              <a:tabLst/>
              <a:defRPr/>
            </a:pPr>
            <a:r>
              <a:rPr kumimoji="0" lang="en-US" sz="1400" b="0" i="0" u="none" strike="noStrike" kern="0" cap="none" spc="0" normalizeH="0" baseline="0" noProof="0" dirty="0">
                <a:ln>
                  <a:noFill/>
                </a:ln>
                <a:solidFill>
                  <a:srgbClr val="000000"/>
                </a:solidFill>
                <a:effectLst/>
                <a:uLnTx/>
                <a:uFillTx/>
                <a:latin typeface="HaufeMerriweatherSansLt"/>
                <a:ea typeface="+mn-ea"/>
                <a:cs typeface="+mn-cs"/>
              </a:rPr>
              <a:t>Tip! Click once to select the entire map, and again to select one or more regions within it</a:t>
            </a:r>
            <a:endParaRPr kumimoji="0" lang="de-AT" sz="1400" b="0" i="0" u="none" strike="noStrike" kern="0" cap="none" spc="0" normalizeH="0" baseline="0" noProof="0" dirty="0">
              <a:ln>
                <a:noFill/>
              </a:ln>
              <a:solidFill>
                <a:srgbClr val="000000"/>
              </a:solidFill>
              <a:effectLst/>
              <a:uLnTx/>
              <a:uFillTx/>
              <a:latin typeface="HaufeMerriweatherSansLt"/>
              <a:ea typeface="+mn-ea"/>
              <a:cs typeface="+mn-cs"/>
            </a:endParaRPr>
          </a:p>
        </p:txBody>
      </p:sp>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0CF4EC-7188-4B9B-82C1-EDEC5139CB7A}"/>
              </a:ext>
            </a:extLst>
          </p:cNvPr>
          <p:cNvSpPr>
            <a:spLocks noGrp="1"/>
          </p:cNvSpPr>
          <p:nvPr>
            <p:ph type="title"/>
          </p:nvPr>
        </p:nvSpPr>
        <p:spPr/>
        <p:txBody>
          <a:bodyPr/>
          <a:lstStyle/>
          <a:p>
            <a:r>
              <a:rPr lang="de-AT" dirty="0"/>
              <a:t>Icons</a:t>
            </a:r>
          </a:p>
        </p:txBody>
      </p:sp>
      <p:sp>
        <p:nvSpPr>
          <p:cNvPr id="3" name="Foliennummernplatzhalter 2">
            <a:extLst>
              <a:ext uri="{FF2B5EF4-FFF2-40B4-BE49-F238E27FC236}">
                <a16:creationId xmlns:a16="http://schemas.microsoft.com/office/drawing/2014/main" id="{F3B4E9D9-7111-49E8-AAD1-CE8A7C66981D}"/>
              </a:ext>
            </a:extLst>
          </p:cNvPr>
          <p:cNvSpPr>
            <a:spLocks noGrp="1"/>
          </p:cNvSpPr>
          <p:nvPr>
            <p:ph type="sldNum" sz="quarter" idx="16"/>
          </p:nvPr>
        </p:nvSpPr>
        <p:spPr/>
        <p:txBody>
          <a:bodyPr/>
          <a:lstStyle/>
          <a:p>
            <a:fld id="{5A8936CA-D2FE-9D45-8580-8E39AF73C35D}" type="slidenum">
              <a:rPr lang="de-DE" smtClean="0"/>
              <a:pPr/>
              <a:t>32</a:t>
            </a:fld>
            <a:endParaRPr lang="de-DE" dirty="0"/>
          </a:p>
        </p:txBody>
      </p:sp>
      <p:pic>
        <p:nvPicPr>
          <p:cNvPr id="4" name="Grafik 3">
            <a:extLst>
              <a:ext uri="{FF2B5EF4-FFF2-40B4-BE49-F238E27FC236}">
                <a16:creationId xmlns:a16="http://schemas.microsoft.com/office/drawing/2014/main" id="{82D709BF-EAEF-4BD7-B7EB-EA884C4A1AB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43000" y="1407236"/>
            <a:ext cx="476250" cy="504825"/>
          </a:xfrm>
          <a:prstGeom prst="rect">
            <a:avLst/>
          </a:prstGeom>
        </p:spPr>
      </p:pic>
      <p:pic>
        <p:nvPicPr>
          <p:cNvPr id="5" name="Grafik 4">
            <a:extLst>
              <a:ext uri="{FF2B5EF4-FFF2-40B4-BE49-F238E27FC236}">
                <a16:creationId xmlns:a16="http://schemas.microsoft.com/office/drawing/2014/main" id="{0A6CB117-67FF-4706-B3C9-2922373F03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25711" y="1504947"/>
            <a:ext cx="495300" cy="371475"/>
          </a:xfrm>
          <a:prstGeom prst="rect">
            <a:avLst/>
          </a:prstGeom>
        </p:spPr>
      </p:pic>
      <p:pic>
        <p:nvPicPr>
          <p:cNvPr id="6" name="Grafik 5">
            <a:extLst>
              <a:ext uri="{FF2B5EF4-FFF2-40B4-BE49-F238E27FC236}">
                <a16:creationId xmlns:a16="http://schemas.microsoft.com/office/drawing/2014/main" id="{ACD39D81-AB9C-430A-8A9F-FE52D48C44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77500" y="5183499"/>
            <a:ext cx="720000" cy="720000"/>
          </a:xfrm>
          <a:prstGeom prst="rect">
            <a:avLst/>
          </a:prstGeom>
        </p:spPr>
      </p:pic>
      <p:pic>
        <p:nvPicPr>
          <p:cNvPr id="7" name="Grafik 6">
            <a:extLst>
              <a:ext uri="{FF2B5EF4-FFF2-40B4-BE49-F238E27FC236}">
                <a16:creationId xmlns:a16="http://schemas.microsoft.com/office/drawing/2014/main" id="{E4C07F43-8B82-4D1C-88D0-5C15345774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22709" y="1519328"/>
            <a:ext cx="466725" cy="276225"/>
          </a:xfrm>
          <a:prstGeom prst="rect">
            <a:avLst/>
          </a:prstGeom>
        </p:spPr>
      </p:pic>
      <p:pic>
        <p:nvPicPr>
          <p:cNvPr id="8" name="Grafik 7">
            <a:extLst>
              <a:ext uri="{FF2B5EF4-FFF2-40B4-BE49-F238E27FC236}">
                <a16:creationId xmlns:a16="http://schemas.microsoft.com/office/drawing/2014/main" id="{9301D256-7FFC-4340-92D4-DE4D1F0B68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91132" y="1485861"/>
            <a:ext cx="495300" cy="371475"/>
          </a:xfrm>
          <a:prstGeom prst="rect">
            <a:avLst/>
          </a:prstGeom>
        </p:spPr>
      </p:pic>
      <p:pic>
        <p:nvPicPr>
          <p:cNvPr id="9" name="Grafik 8">
            <a:extLst>
              <a:ext uri="{FF2B5EF4-FFF2-40B4-BE49-F238E27FC236}">
                <a16:creationId xmlns:a16="http://schemas.microsoft.com/office/drawing/2014/main" id="{2134138C-2A44-4B89-ABE8-ECE1A43DC3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88130" y="1434707"/>
            <a:ext cx="495300" cy="495300"/>
          </a:xfrm>
          <a:prstGeom prst="rect">
            <a:avLst/>
          </a:prstGeom>
        </p:spPr>
      </p:pic>
      <p:pic>
        <p:nvPicPr>
          <p:cNvPr id="10" name="Grafik 9">
            <a:extLst>
              <a:ext uri="{FF2B5EF4-FFF2-40B4-BE49-F238E27FC236}">
                <a16:creationId xmlns:a16="http://schemas.microsoft.com/office/drawing/2014/main" id="{0FAD9D4D-8436-40D2-8066-49BD4B16F47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85128" y="1443034"/>
            <a:ext cx="495300" cy="495300"/>
          </a:xfrm>
          <a:prstGeom prst="rect">
            <a:avLst/>
          </a:prstGeom>
        </p:spPr>
      </p:pic>
      <p:pic>
        <p:nvPicPr>
          <p:cNvPr id="11" name="Grafik 10">
            <a:extLst>
              <a:ext uri="{FF2B5EF4-FFF2-40B4-BE49-F238E27FC236}">
                <a16:creationId xmlns:a16="http://schemas.microsoft.com/office/drawing/2014/main" id="{97C99834-B6F1-4B00-A611-DF4FA01C0AE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82126" y="1476336"/>
            <a:ext cx="495300" cy="485775"/>
          </a:xfrm>
          <a:prstGeom prst="rect">
            <a:avLst/>
          </a:prstGeom>
        </p:spPr>
      </p:pic>
      <p:pic>
        <p:nvPicPr>
          <p:cNvPr id="12" name="Grafik 11">
            <a:extLst>
              <a:ext uri="{FF2B5EF4-FFF2-40B4-BE49-F238E27FC236}">
                <a16:creationId xmlns:a16="http://schemas.microsoft.com/office/drawing/2014/main" id="{B0E69682-F349-4C27-9099-E47AAF88FD7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82346" y="1485987"/>
            <a:ext cx="438150" cy="495300"/>
          </a:xfrm>
          <a:prstGeom prst="rect">
            <a:avLst/>
          </a:prstGeom>
        </p:spPr>
      </p:pic>
      <p:pic>
        <p:nvPicPr>
          <p:cNvPr id="13" name="Grafik 12">
            <a:extLst>
              <a:ext uri="{FF2B5EF4-FFF2-40B4-BE49-F238E27FC236}">
                <a16:creationId xmlns:a16="http://schemas.microsoft.com/office/drawing/2014/main" id="{CAF185C1-DA10-4551-B286-F052F43EE06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907180" y="2914041"/>
            <a:ext cx="476250" cy="476250"/>
          </a:xfrm>
          <a:prstGeom prst="rect">
            <a:avLst/>
          </a:prstGeom>
        </p:spPr>
      </p:pic>
      <p:pic>
        <p:nvPicPr>
          <p:cNvPr id="14" name="Grafik 13">
            <a:extLst>
              <a:ext uri="{FF2B5EF4-FFF2-40B4-BE49-F238E27FC236}">
                <a16:creationId xmlns:a16="http://schemas.microsoft.com/office/drawing/2014/main" id="{D98CA14F-E158-4E6E-95BD-FA7A8421BBD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43000" y="2890149"/>
            <a:ext cx="476250" cy="476250"/>
          </a:xfrm>
          <a:prstGeom prst="rect">
            <a:avLst/>
          </a:prstGeom>
        </p:spPr>
      </p:pic>
      <p:pic>
        <p:nvPicPr>
          <p:cNvPr id="15" name="Grafik 14">
            <a:extLst>
              <a:ext uri="{FF2B5EF4-FFF2-40B4-BE49-F238E27FC236}">
                <a16:creationId xmlns:a16="http://schemas.microsoft.com/office/drawing/2014/main" id="{50BEB9A7-EF77-4A4C-B66E-6D101FB5F4D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27472" y="2883832"/>
            <a:ext cx="476250" cy="476250"/>
          </a:xfrm>
          <a:prstGeom prst="rect">
            <a:avLst/>
          </a:prstGeom>
        </p:spPr>
      </p:pic>
      <p:pic>
        <p:nvPicPr>
          <p:cNvPr id="16" name="Grafik 15">
            <a:extLst>
              <a:ext uri="{FF2B5EF4-FFF2-40B4-BE49-F238E27FC236}">
                <a16:creationId xmlns:a16="http://schemas.microsoft.com/office/drawing/2014/main" id="{8E3C9210-05BB-459D-9541-4B836A29DE8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4719708" y="2895020"/>
            <a:ext cx="476250" cy="476250"/>
          </a:xfrm>
          <a:prstGeom prst="rect">
            <a:avLst/>
          </a:prstGeom>
        </p:spPr>
      </p:pic>
      <p:pic>
        <p:nvPicPr>
          <p:cNvPr id="17" name="Grafik 16">
            <a:extLst>
              <a:ext uri="{FF2B5EF4-FFF2-40B4-BE49-F238E27FC236}">
                <a16:creationId xmlns:a16="http://schemas.microsoft.com/office/drawing/2014/main" id="{ACDA1870-10BF-4EC9-ADF9-0E1D4D46336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344761" y="2895020"/>
            <a:ext cx="476250" cy="476250"/>
          </a:xfrm>
          <a:prstGeom prst="rect">
            <a:avLst/>
          </a:prstGeom>
        </p:spPr>
      </p:pic>
      <p:pic>
        <p:nvPicPr>
          <p:cNvPr id="18" name="Grafik 17">
            <a:extLst>
              <a:ext uri="{FF2B5EF4-FFF2-40B4-BE49-F238E27FC236}">
                <a16:creationId xmlns:a16="http://schemas.microsoft.com/office/drawing/2014/main" id="{4C51E33A-5AEC-4D88-A8AC-306250FE08E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7104180" y="2882274"/>
            <a:ext cx="476250" cy="476250"/>
          </a:xfrm>
          <a:prstGeom prst="rect">
            <a:avLst/>
          </a:prstGeom>
        </p:spPr>
      </p:pic>
      <p:pic>
        <p:nvPicPr>
          <p:cNvPr id="19" name="Grafik 18">
            <a:extLst>
              <a:ext uri="{FF2B5EF4-FFF2-40B4-BE49-F238E27FC236}">
                <a16:creationId xmlns:a16="http://schemas.microsoft.com/office/drawing/2014/main" id="{31AE27DD-40AF-4686-9A20-59CD260A474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354750" y="5291516"/>
            <a:ext cx="495300" cy="495300"/>
          </a:xfrm>
          <a:prstGeom prst="rect">
            <a:avLst/>
          </a:prstGeom>
        </p:spPr>
      </p:pic>
      <p:pic>
        <p:nvPicPr>
          <p:cNvPr id="20" name="Grafik 19">
            <a:extLst>
              <a:ext uri="{FF2B5EF4-FFF2-40B4-BE49-F238E27FC236}">
                <a16:creationId xmlns:a16="http://schemas.microsoft.com/office/drawing/2014/main" id="{1F2E902E-7701-4536-8183-7B5F0A1E8BB2}"/>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940650" y="5174405"/>
            <a:ext cx="720000" cy="720000"/>
          </a:xfrm>
          <a:prstGeom prst="rect">
            <a:avLst/>
          </a:prstGeom>
        </p:spPr>
      </p:pic>
      <p:pic>
        <p:nvPicPr>
          <p:cNvPr id="21" name="Grafik 20">
            <a:extLst>
              <a:ext uri="{FF2B5EF4-FFF2-40B4-BE49-F238E27FC236}">
                <a16:creationId xmlns:a16="http://schemas.microsoft.com/office/drawing/2014/main" id="{109B7075-7074-4404-959F-3459AAD045D0}"/>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5524725" y="5310948"/>
            <a:ext cx="438150" cy="495300"/>
          </a:xfrm>
          <a:prstGeom prst="rect">
            <a:avLst/>
          </a:prstGeom>
        </p:spPr>
      </p:pic>
      <p:pic>
        <p:nvPicPr>
          <p:cNvPr id="22" name="Grafik 21">
            <a:extLst>
              <a:ext uri="{FF2B5EF4-FFF2-40B4-BE49-F238E27FC236}">
                <a16:creationId xmlns:a16="http://schemas.microsoft.com/office/drawing/2014/main" id="{1A7D29DB-F0A5-4276-A76D-BF35464325DE}"/>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133830" y="5174405"/>
            <a:ext cx="720000" cy="720000"/>
          </a:xfrm>
          <a:prstGeom prst="rect">
            <a:avLst/>
          </a:prstGeom>
        </p:spPr>
      </p:pic>
      <p:pic>
        <p:nvPicPr>
          <p:cNvPr id="23" name="Grafik 22">
            <a:extLst>
              <a:ext uri="{FF2B5EF4-FFF2-40B4-BE49-F238E27FC236}">
                <a16:creationId xmlns:a16="http://schemas.microsoft.com/office/drawing/2014/main" id="{2C763973-11B8-4836-9717-79395FA240B4}"/>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180399" y="5320093"/>
            <a:ext cx="495300" cy="428625"/>
          </a:xfrm>
          <a:prstGeom prst="rect">
            <a:avLst/>
          </a:prstGeom>
        </p:spPr>
      </p:pic>
      <p:pic>
        <p:nvPicPr>
          <p:cNvPr id="24" name="Grafik 23">
            <a:extLst>
              <a:ext uri="{FF2B5EF4-FFF2-40B4-BE49-F238E27FC236}">
                <a16:creationId xmlns:a16="http://schemas.microsoft.com/office/drawing/2014/main" id="{AC1F79B8-FDEF-46D0-8B89-7A281AB1EE02}"/>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7774489" y="5310948"/>
            <a:ext cx="285750" cy="495300"/>
          </a:xfrm>
          <a:prstGeom prst="rect">
            <a:avLst/>
          </a:prstGeom>
        </p:spPr>
      </p:pic>
      <p:pic>
        <p:nvPicPr>
          <p:cNvPr id="25" name="Grafik 24">
            <a:extLst>
              <a:ext uri="{FF2B5EF4-FFF2-40B4-BE49-F238E27FC236}">
                <a16:creationId xmlns:a16="http://schemas.microsoft.com/office/drawing/2014/main" id="{53A9C46B-3316-4219-8F67-FAD10F9FD7C8}"/>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8258948" y="5207743"/>
            <a:ext cx="720000" cy="720000"/>
          </a:xfrm>
          <a:prstGeom prst="rect">
            <a:avLst/>
          </a:prstGeom>
        </p:spPr>
      </p:pic>
      <p:pic>
        <p:nvPicPr>
          <p:cNvPr id="26" name="Grafik 25">
            <a:extLst>
              <a:ext uri="{FF2B5EF4-FFF2-40B4-BE49-F238E27FC236}">
                <a16:creationId xmlns:a16="http://schemas.microsoft.com/office/drawing/2014/main" id="{351DCDD6-A520-46A7-B2FA-271B7F8B5124}"/>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833999" y="5291516"/>
            <a:ext cx="495300" cy="495300"/>
          </a:xfrm>
          <a:prstGeom prst="rect">
            <a:avLst/>
          </a:prstGeom>
        </p:spPr>
      </p:pic>
      <p:pic>
        <p:nvPicPr>
          <p:cNvPr id="27" name="Grafik 26">
            <a:extLst>
              <a:ext uri="{FF2B5EF4-FFF2-40B4-BE49-F238E27FC236}">
                <a16:creationId xmlns:a16="http://schemas.microsoft.com/office/drawing/2014/main" id="{FE0BFBC5-8A37-4F5D-8EC7-5820639F997D}"/>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0384066" y="5174405"/>
            <a:ext cx="720000" cy="720000"/>
          </a:xfrm>
          <a:prstGeom prst="rect">
            <a:avLst/>
          </a:prstGeom>
        </p:spPr>
      </p:pic>
      <p:pic>
        <p:nvPicPr>
          <p:cNvPr id="28" name="Grafik 27">
            <a:extLst>
              <a:ext uri="{FF2B5EF4-FFF2-40B4-BE49-F238E27FC236}">
                <a16:creationId xmlns:a16="http://schemas.microsoft.com/office/drawing/2014/main" id="{B9DE21BF-2B99-48E7-8E4C-66F3446D3924}"/>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180399" y="4250961"/>
            <a:ext cx="495300" cy="495300"/>
          </a:xfrm>
          <a:prstGeom prst="rect">
            <a:avLst/>
          </a:prstGeom>
        </p:spPr>
      </p:pic>
      <p:pic>
        <p:nvPicPr>
          <p:cNvPr id="29" name="Grafik 28">
            <a:extLst>
              <a:ext uri="{FF2B5EF4-FFF2-40B4-BE49-F238E27FC236}">
                <a16:creationId xmlns:a16="http://schemas.microsoft.com/office/drawing/2014/main" id="{0990B17D-680B-4BAB-A02F-5C039EF72FF4}"/>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2325711" y="4259972"/>
            <a:ext cx="495300" cy="495300"/>
          </a:xfrm>
          <a:prstGeom prst="rect">
            <a:avLst/>
          </a:prstGeom>
        </p:spPr>
      </p:pic>
      <p:pic>
        <p:nvPicPr>
          <p:cNvPr id="30" name="Grafik 29">
            <a:extLst>
              <a:ext uri="{FF2B5EF4-FFF2-40B4-BE49-F238E27FC236}">
                <a16:creationId xmlns:a16="http://schemas.microsoft.com/office/drawing/2014/main" id="{8193331F-A4D6-4521-8F7C-6A27D58CAE95}"/>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3527472" y="4259085"/>
            <a:ext cx="495300" cy="495300"/>
          </a:xfrm>
          <a:prstGeom prst="rect">
            <a:avLst/>
          </a:prstGeom>
        </p:spPr>
      </p:pic>
      <p:sp>
        <p:nvSpPr>
          <p:cNvPr id="31" name="Textfeld 30">
            <a:extLst>
              <a:ext uri="{FF2B5EF4-FFF2-40B4-BE49-F238E27FC236}">
                <a16:creationId xmlns:a16="http://schemas.microsoft.com/office/drawing/2014/main" id="{57446DE3-1E77-4FB7-8A52-170C5CCD3CF9}"/>
              </a:ext>
            </a:extLst>
          </p:cNvPr>
          <p:cNvSpPr txBox="1"/>
          <p:nvPr/>
        </p:nvSpPr>
        <p:spPr>
          <a:xfrm>
            <a:off x="838200" y="2073212"/>
            <a:ext cx="1085850" cy="276999"/>
          </a:xfrm>
          <a:prstGeom prst="rect">
            <a:avLst/>
          </a:prstGeom>
          <a:noFill/>
        </p:spPr>
        <p:txBody>
          <a:bodyPr wrap="square" rtlCol="0">
            <a:spAutoFit/>
          </a:bodyPr>
          <a:lstStyle/>
          <a:p>
            <a:r>
              <a:rPr lang="de-AT" sz="1200" dirty="0" err="1">
                <a:latin typeface="Microsoft Sans Serif" panose="020B0604020202020204" pitchFamily="34" charset="0"/>
                <a:ea typeface="Microsoft Sans Serif" panose="020B0604020202020204" pitchFamily="34" charset="0"/>
                <a:cs typeface="Microsoft Sans Serif" panose="020B0604020202020204" pitchFamily="34" charset="0"/>
              </a:rPr>
              <a:t>Sustainability</a:t>
            </a:r>
            <a:endPar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2" name="Textfeld 31">
            <a:extLst>
              <a:ext uri="{FF2B5EF4-FFF2-40B4-BE49-F238E27FC236}">
                <a16:creationId xmlns:a16="http://schemas.microsoft.com/office/drawing/2014/main" id="{DDB3D418-A53E-44B2-8FD3-336D64FA14D2}"/>
              </a:ext>
            </a:extLst>
          </p:cNvPr>
          <p:cNvSpPr txBox="1"/>
          <p:nvPr/>
        </p:nvSpPr>
        <p:spPr>
          <a:xfrm>
            <a:off x="6876488" y="2071664"/>
            <a:ext cx="952500" cy="276999"/>
          </a:xfrm>
          <a:prstGeom prst="rect">
            <a:avLst/>
          </a:prstGeom>
          <a:noFill/>
        </p:spPr>
        <p:txBody>
          <a:bodyPr wrap="square" rtlCol="0">
            <a:spAutoFit/>
          </a:bodyPr>
          <a:lstStyle/>
          <a:p>
            <a:r>
              <a:rPr lang="de-AT" sz="1200" dirty="0" err="1">
                <a:latin typeface="Microsoft Sans Serif" panose="020B0604020202020204" pitchFamily="34" charset="0"/>
                <a:ea typeface="Microsoft Sans Serif" panose="020B0604020202020204" pitchFamily="34" charset="0"/>
                <a:cs typeface="Microsoft Sans Serif" panose="020B0604020202020204" pitchFamily="34" charset="0"/>
              </a:rPr>
              <a:t>Operations</a:t>
            </a:r>
            <a:endPar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3" name="Textfeld 32">
            <a:extLst>
              <a:ext uri="{FF2B5EF4-FFF2-40B4-BE49-F238E27FC236}">
                <a16:creationId xmlns:a16="http://schemas.microsoft.com/office/drawing/2014/main" id="{B93050E6-3AC2-4969-BA04-3528EF05805C}"/>
              </a:ext>
            </a:extLst>
          </p:cNvPr>
          <p:cNvSpPr txBox="1"/>
          <p:nvPr/>
        </p:nvSpPr>
        <p:spPr>
          <a:xfrm>
            <a:off x="3522709" y="2077810"/>
            <a:ext cx="466725" cy="276225"/>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HR</a:t>
            </a:r>
          </a:p>
        </p:txBody>
      </p:sp>
      <p:sp>
        <p:nvSpPr>
          <p:cNvPr id="34" name="Textfeld 33">
            <a:extLst>
              <a:ext uri="{FF2B5EF4-FFF2-40B4-BE49-F238E27FC236}">
                <a16:creationId xmlns:a16="http://schemas.microsoft.com/office/drawing/2014/main" id="{969D6EBA-8DD3-41EE-B457-C5831534B1D0}"/>
              </a:ext>
            </a:extLst>
          </p:cNvPr>
          <p:cNvSpPr txBox="1"/>
          <p:nvPr/>
        </p:nvSpPr>
        <p:spPr>
          <a:xfrm>
            <a:off x="4712700" y="2072438"/>
            <a:ext cx="364126" cy="276225"/>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IT</a:t>
            </a:r>
          </a:p>
        </p:txBody>
      </p:sp>
      <p:sp>
        <p:nvSpPr>
          <p:cNvPr id="35" name="Textfeld 34">
            <a:extLst>
              <a:ext uri="{FF2B5EF4-FFF2-40B4-BE49-F238E27FC236}">
                <a16:creationId xmlns:a16="http://schemas.microsoft.com/office/drawing/2014/main" id="{74970CBD-F9C2-4B60-BD35-71F83198CE30}"/>
              </a:ext>
            </a:extLst>
          </p:cNvPr>
          <p:cNvSpPr txBox="1"/>
          <p:nvPr/>
        </p:nvSpPr>
        <p:spPr>
          <a:xfrm>
            <a:off x="5735028" y="2077810"/>
            <a:ext cx="952500" cy="461665"/>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Marketing &amp; Vertrieb</a:t>
            </a:r>
          </a:p>
        </p:txBody>
      </p:sp>
      <p:sp>
        <p:nvSpPr>
          <p:cNvPr id="36" name="Textfeld 35">
            <a:extLst>
              <a:ext uri="{FF2B5EF4-FFF2-40B4-BE49-F238E27FC236}">
                <a16:creationId xmlns:a16="http://schemas.microsoft.com/office/drawing/2014/main" id="{F333CD4A-49C8-44E2-80F1-8C30206433FF}"/>
              </a:ext>
            </a:extLst>
          </p:cNvPr>
          <p:cNvSpPr txBox="1"/>
          <p:nvPr/>
        </p:nvSpPr>
        <p:spPr>
          <a:xfrm>
            <a:off x="8053526" y="2077810"/>
            <a:ext cx="1090474" cy="276999"/>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Organisation</a:t>
            </a:r>
          </a:p>
        </p:txBody>
      </p:sp>
      <p:sp>
        <p:nvSpPr>
          <p:cNvPr id="37" name="Textfeld 36">
            <a:extLst>
              <a:ext uri="{FF2B5EF4-FFF2-40B4-BE49-F238E27FC236}">
                <a16:creationId xmlns:a16="http://schemas.microsoft.com/office/drawing/2014/main" id="{2865BEB5-6858-4857-B3F7-3C5375AE6A6F}"/>
              </a:ext>
            </a:extLst>
          </p:cNvPr>
          <p:cNvSpPr txBox="1"/>
          <p:nvPr/>
        </p:nvSpPr>
        <p:spPr>
          <a:xfrm>
            <a:off x="9330438" y="2071664"/>
            <a:ext cx="804093" cy="276999"/>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Strategie</a:t>
            </a:r>
          </a:p>
        </p:txBody>
      </p:sp>
      <p:sp>
        <p:nvSpPr>
          <p:cNvPr id="38" name="Textfeld 37">
            <a:extLst>
              <a:ext uri="{FF2B5EF4-FFF2-40B4-BE49-F238E27FC236}">
                <a16:creationId xmlns:a16="http://schemas.microsoft.com/office/drawing/2014/main" id="{526A931C-115A-48E4-9DC1-2197C2760011}"/>
              </a:ext>
            </a:extLst>
          </p:cNvPr>
          <p:cNvSpPr txBox="1"/>
          <p:nvPr/>
        </p:nvSpPr>
        <p:spPr>
          <a:xfrm>
            <a:off x="959012" y="3507366"/>
            <a:ext cx="938074" cy="276999"/>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Consulting</a:t>
            </a:r>
          </a:p>
        </p:txBody>
      </p:sp>
      <p:sp>
        <p:nvSpPr>
          <p:cNvPr id="39" name="Textfeld 38">
            <a:extLst>
              <a:ext uri="{FF2B5EF4-FFF2-40B4-BE49-F238E27FC236}">
                <a16:creationId xmlns:a16="http://schemas.microsoft.com/office/drawing/2014/main" id="{8ADB83F0-5335-4821-B94A-4E9AA6905F2A}"/>
              </a:ext>
            </a:extLst>
          </p:cNvPr>
          <p:cNvSpPr txBox="1"/>
          <p:nvPr/>
        </p:nvSpPr>
        <p:spPr>
          <a:xfrm>
            <a:off x="2232869" y="2071664"/>
            <a:ext cx="751292" cy="276999"/>
          </a:xfrm>
          <a:prstGeom prst="rect">
            <a:avLst/>
          </a:prstGeom>
          <a:noFill/>
        </p:spPr>
        <p:txBody>
          <a:bodyPr wrap="square" rtlCol="0">
            <a:spAutoFit/>
          </a:bodyPr>
          <a:lstStyle/>
          <a:p>
            <a:r>
              <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rPr>
              <a:t>Finance</a:t>
            </a:r>
          </a:p>
        </p:txBody>
      </p:sp>
      <p:sp>
        <p:nvSpPr>
          <p:cNvPr id="40" name="Textfeld 39">
            <a:extLst>
              <a:ext uri="{FF2B5EF4-FFF2-40B4-BE49-F238E27FC236}">
                <a16:creationId xmlns:a16="http://schemas.microsoft.com/office/drawing/2014/main" id="{F1A213B0-DB7C-45A1-B4C5-7C5BA795CC36}"/>
              </a:ext>
            </a:extLst>
          </p:cNvPr>
          <p:cNvSpPr txBox="1"/>
          <p:nvPr/>
        </p:nvSpPr>
        <p:spPr>
          <a:xfrm>
            <a:off x="2106636" y="3502574"/>
            <a:ext cx="952500" cy="276999"/>
          </a:xfrm>
          <a:prstGeom prst="rect">
            <a:avLst/>
          </a:prstGeom>
          <a:noFill/>
        </p:spPr>
        <p:txBody>
          <a:bodyPr wrap="square" rtlCol="0">
            <a:spAutoFit/>
          </a:bodyPr>
          <a:lstStyle/>
          <a:p>
            <a:r>
              <a:rPr lang="de-AT" sz="1200" dirty="0" err="1">
                <a:latin typeface="Microsoft Sans Serif" panose="020B0604020202020204" pitchFamily="34" charset="0"/>
                <a:ea typeface="Microsoft Sans Serif" panose="020B0604020202020204" pitchFamily="34" charset="0"/>
                <a:cs typeface="Microsoft Sans Serif" panose="020B0604020202020204" pitchFamily="34" charset="0"/>
              </a:rPr>
              <a:t>Expertises</a:t>
            </a:r>
            <a:endParaRPr lang="de-AT" sz="1200" dirty="0">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Tree>
    <p:extLst>
      <p:ext uri="{BB962C8B-B14F-4D97-AF65-F5344CB8AC3E}">
        <p14:creationId xmlns:p14="http://schemas.microsoft.com/office/powerpoint/2010/main" val="226286125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A88EBC08-1EBA-4560-804D-6B04845DAD56}"/>
              </a:ext>
            </a:extLst>
          </p:cNvPr>
          <p:cNvSpPr>
            <a:spLocks noGrp="1"/>
          </p:cNvSpPr>
          <p:nvPr>
            <p:ph type="title"/>
          </p:nvPr>
        </p:nvSpPr>
        <p:spPr/>
        <p:txBody>
          <a:bodyPr/>
          <a:lstStyle/>
          <a:p>
            <a:r>
              <a:rPr lang="de-AT" dirty="0"/>
              <a:t>Image </a:t>
            </a:r>
          </a:p>
        </p:txBody>
      </p:sp>
      <p:sp>
        <p:nvSpPr>
          <p:cNvPr id="3" name="Foliennummernplatzhalter 2">
            <a:extLst>
              <a:ext uri="{FF2B5EF4-FFF2-40B4-BE49-F238E27FC236}">
                <a16:creationId xmlns:a16="http://schemas.microsoft.com/office/drawing/2014/main" id="{DC965F87-C63E-471D-A74A-944AABCDA92C}"/>
              </a:ext>
            </a:extLst>
          </p:cNvPr>
          <p:cNvSpPr>
            <a:spLocks noGrp="1"/>
          </p:cNvSpPr>
          <p:nvPr>
            <p:ph type="sldNum" sz="quarter" idx="11"/>
          </p:nvPr>
        </p:nvSpPr>
        <p:spPr/>
        <p:txBody>
          <a:bodyPr/>
          <a:lstStyle/>
          <a:p>
            <a:fld id="{23A8C71E-D222-49FC-9304-2DE29525E0AD}" type="slidenum">
              <a:rPr lang="de-AT" smtClean="0"/>
              <a:t>33</a:t>
            </a:fld>
            <a:endParaRPr lang="de-AT"/>
          </a:p>
        </p:txBody>
      </p:sp>
      <p:pic>
        <p:nvPicPr>
          <p:cNvPr id="9" name="Bildplatzhalter 8" descr="Ein Bild, das Person, drinnen enthält.&#10;&#10;Automatisch generierte Beschreibung">
            <a:extLst>
              <a:ext uri="{FF2B5EF4-FFF2-40B4-BE49-F238E27FC236}">
                <a16:creationId xmlns:a16="http://schemas.microsoft.com/office/drawing/2014/main" id="{5CAB497D-BA23-4C41-9E4B-0493E14995A9}"/>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24479959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A7426F-8F61-4791-8586-19A21BA0DE38}"/>
              </a:ext>
            </a:extLst>
          </p:cNvPr>
          <p:cNvSpPr>
            <a:spLocks noGrp="1"/>
          </p:cNvSpPr>
          <p:nvPr>
            <p:ph type="title"/>
          </p:nvPr>
        </p:nvSpPr>
        <p:spPr/>
        <p:txBody>
          <a:bodyPr/>
          <a:lstStyle/>
          <a:p>
            <a:r>
              <a:rPr lang="de-AT" dirty="0"/>
              <a:t>Image</a:t>
            </a:r>
          </a:p>
        </p:txBody>
      </p:sp>
      <p:sp>
        <p:nvSpPr>
          <p:cNvPr id="3" name="Foliennummernplatzhalter 2">
            <a:extLst>
              <a:ext uri="{FF2B5EF4-FFF2-40B4-BE49-F238E27FC236}">
                <a16:creationId xmlns:a16="http://schemas.microsoft.com/office/drawing/2014/main" id="{5BDC5716-EC41-4346-BDD4-53749BDD78BC}"/>
              </a:ext>
            </a:extLst>
          </p:cNvPr>
          <p:cNvSpPr>
            <a:spLocks noGrp="1"/>
          </p:cNvSpPr>
          <p:nvPr>
            <p:ph type="sldNum" sz="quarter" idx="11"/>
          </p:nvPr>
        </p:nvSpPr>
        <p:spPr/>
        <p:txBody>
          <a:bodyPr/>
          <a:lstStyle/>
          <a:p>
            <a:fld id="{23A8C71E-D222-49FC-9304-2DE29525E0AD}" type="slidenum">
              <a:rPr lang="de-AT" smtClean="0"/>
              <a:t>34</a:t>
            </a:fld>
            <a:endParaRPr lang="de-AT"/>
          </a:p>
        </p:txBody>
      </p:sp>
      <p:pic>
        <p:nvPicPr>
          <p:cNvPr id="6" name="Bildplatzhalter 5" descr="Ein Bild, das Person, drinnen enthält.&#10;&#10;Automatisch generierte Beschreibung">
            <a:extLst>
              <a:ext uri="{FF2B5EF4-FFF2-40B4-BE49-F238E27FC236}">
                <a16:creationId xmlns:a16="http://schemas.microsoft.com/office/drawing/2014/main" id="{EAE407AB-C6B6-4A63-92EC-DA1433850CBF}"/>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944456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D94612-157B-470F-ADBA-260240398EB3}"/>
              </a:ext>
            </a:extLst>
          </p:cNvPr>
          <p:cNvSpPr>
            <a:spLocks noGrp="1"/>
          </p:cNvSpPr>
          <p:nvPr>
            <p:ph type="title"/>
          </p:nvPr>
        </p:nvSpPr>
        <p:spPr/>
        <p:txBody>
          <a:bodyPr/>
          <a:lstStyle/>
          <a:p>
            <a:r>
              <a:rPr lang="de-AT" dirty="0"/>
              <a:t>Image</a:t>
            </a:r>
          </a:p>
        </p:txBody>
      </p:sp>
      <p:sp>
        <p:nvSpPr>
          <p:cNvPr id="3" name="Foliennummernplatzhalter 2">
            <a:extLst>
              <a:ext uri="{FF2B5EF4-FFF2-40B4-BE49-F238E27FC236}">
                <a16:creationId xmlns:a16="http://schemas.microsoft.com/office/drawing/2014/main" id="{280F4F54-A130-4476-9D48-C0EC524185EC}"/>
              </a:ext>
            </a:extLst>
          </p:cNvPr>
          <p:cNvSpPr>
            <a:spLocks noGrp="1"/>
          </p:cNvSpPr>
          <p:nvPr>
            <p:ph type="sldNum" sz="quarter" idx="11"/>
          </p:nvPr>
        </p:nvSpPr>
        <p:spPr/>
        <p:txBody>
          <a:bodyPr/>
          <a:lstStyle/>
          <a:p>
            <a:fld id="{23A8C71E-D222-49FC-9304-2DE29525E0AD}" type="slidenum">
              <a:rPr lang="de-AT" smtClean="0"/>
              <a:t>35</a:t>
            </a:fld>
            <a:endParaRPr lang="de-AT"/>
          </a:p>
        </p:txBody>
      </p:sp>
      <p:pic>
        <p:nvPicPr>
          <p:cNvPr id="6" name="Bildplatzhalter 5" descr="Ein Bild, das Person, Mann enthält.&#10;&#10;Automatisch generierte Beschreibung">
            <a:extLst>
              <a:ext uri="{FF2B5EF4-FFF2-40B4-BE49-F238E27FC236}">
                <a16:creationId xmlns:a16="http://schemas.microsoft.com/office/drawing/2014/main" id="{8AC97AA2-4BA9-4B78-98F3-BE180F9DBEDF}"/>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8067847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A6E03-2561-4DE5-8CE3-3F969C8537AA}"/>
              </a:ext>
            </a:extLst>
          </p:cNvPr>
          <p:cNvSpPr>
            <a:spLocks noGrp="1"/>
          </p:cNvSpPr>
          <p:nvPr>
            <p:ph type="title"/>
          </p:nvPr>
        </p:nvSpPr>
        <p:spPr/>
        <p:txBody>
          <a:bodyPr/>
          <a:lstStyle/>
          <a:p>
            <a:r>
              <a:rPr lang="en-GB" dirty="0"/>
              <a:t>Initial situation &amp; objectives</a:t>
            </a:r>
          </a:p>
        </p:txBody>
      </p:sp>
      <p:sp>
        <p:nvSpPr>
          <p:cNvPr id="3" name="Textplatzhalter 2">
            <a:extLst>
              <a:ext uri="{FF2B5EF4-FFF2-40B4-BE49-F238E27FC236}">
                <a16:creationId xmlns:a16="http://schemas.microsoft.com/office/drawing/2014/main" id="{60CDF4FF-864C-4561-8396-6A0BB8E9A1D1}"/>
              </a:ext>
            </a:extLst>
          </p:cNvPr>
          <p:cNvSpPr>
            <a:spLocks noGrp="1"/>
          </p:cNvSpPr>
          <p:nvPr>
            <p:ph idx="1"/>
          </p:nvPr>
        </p:nvSpPr>
        <p:spPr>
          <a:xfrm>
            <a:off x="640818" y="1599666"/>
            <a:ext cx="10515600" cy="3806170"/>
          </a:xfrm>
        </p:spPr>
        <p:txBody>
          <a:bodyPr/>
          <a:lstStyle/>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p:txBody>
      </p:sp>
      <p:sp>
        <p:nvSpPr>
          <p:cNvPr id="7" name="Legende mit Linie 1 4">
            <a:extLst>
              <a:ext uri="{FF2B5EF4-FFF2-40B4-BE49-F238E27FC236}">
                <a16:creationId xmlns:a16="http://schemas.microsoft.com/office/drawing/2014/main" id="{DFE501C8-B539-45A3-9A1D-FF15889A72D9}"/>
              </a:ext>
            </a:extLst>
          </p:cNvPr>
          <p:cNvSpPr/>
          <p:nvPr/>
        </p:nvSpPr>
        <p:spPr>
          <a:xfrm>
            <a:off x="5615927" y="5715000"/>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Font not smaller than 16 / otherwise please open 2nd. page</a:t>
            </a:r>
          </a:p>
        </p:txBody>
      </p:sp>
      <p:sp>
        <p:nvSpPr>
          <p:cNvPr id="4" name="Foliennummernplatzhalter 3">
            <a:extLst>
              <a:ext uri="{FF2B5EF4-FFF2-40B4-BE49-F238E27FC236}">
                <a16:creationId xmlns:a16="http://schemas.microsoft.com/office/drawing/2014/main" id="{1D405E7F-B21E-4C13-89CB-67B47AA77B74}"/>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4</a:t>
            </a:fld>
            <a:endParaRPr lang="de-DE" dirty="0"/>
          </a:p>
        </p:txBody>
      </p:sp>
    </p:spTree>
    <p:extLst>
      <p:ext uri="{BB962C8B-B14F-4D97-AF65-F5344CB8AC3E}">
        <p14:creationId xmlns:p14="http://schemas.microsoft.com/office/powerpoint/2010/main" val="2402642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A6E03-2561-4DE5-8CE3-3F969C8537AA}"/>
              </a:ext>
            </a:extLst>
          </p:cNvPr>
          <p:cNvSpPr>
            <a:spLocks noGrp="1"/>
          </p:cNvSpPr>
          <p:nvPr>
            <p:ph type="title"/>
          </p:nvPr>
        </p:nvSpPr>
        <p:spPr/>
        <p:txBody>
          <a:bodyPr>
            <a:normAutofit/>
          </a:bodyPr>
          <a:lstStyle/>
          <a:p>
            <a:r>
              <a:rPr lang="en-GB" dirty="0"/>
              <a:t>Methodological approach</a:t>
            </a:r>
          </a:p>
        </p:txBody>
      </p:sp>
      <p:sp>
        <p:nvSpPr>
          <p:cNvPr id="3" name="Textplatzhalter 2">
            <a:extLst>
              <a:ext uri="{FF2B5EF4-FFF2-40B4-BE49-F238E27FC236}">
                <a16:creationId xmlns:a16="http://schemas.microsoft.com/office/drawing/2014/main" id="{60CDF4FF-864C-4561-8396-6A0BB8E9A1D1}"/>
              </a:ext>
            </a:extLst>
          </p:cNvPr>
          <p:cNvSpPr>
            <a:spLocks noGrp="1"/>
          </p:cNvSpPr>
          <p:nvPr>
            <p:ph idx="1"/>
          </p:nvPr>
        </p:nvSpPr>
        <p:spPr>
          <a:xfrm>
            <a:off x="640818" y="1599666"/>
            <a:ext cx="10515600" cy="3838396"/>
          </a:xfrm>
        </p:spPr>
        <p:txBody>
          <a:bodyPr/>
          <a:lstStyle/>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p:txBody>
      </p:sp>
      <p:sp>
        <p:nvSpPr>
          <p:cNvPr id="6" name="Legende mit Linie 1 4">
            <a:extLst>
              <a:ext uri="{FF2B5EF4-FFF2-40B4-BE49-F238E27FC236}">
                <a16:creationId xmlns:a16="http://schemas.microsoft.com/office/drawing/2014/main" id="{CBB7C4B0-735C-4B94-B65D-D4843B6E7CDC}"/>
              </a:ext>
            </a:extLst>
          </p:cNvPr>
          <p:cNvSpPr/>
          <p:nvPr/>
        </p:nvSpPr>
        <p:spPr>
          <a:xfrm>
            <a:off x="5615927" y="5715000"/>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Font not smaller than 16 / otherwise please open 2nd. page</a:t>
            </a:r>
          </a:p>
        </p:txBody>
      </p:sp>
      <p:sp>
        <p:nvSpPr>
          <p:cNvPr id="4" name="Foliennummernplatzhalter 3">
            <a:extLst>
              <a:ext uri="{FF2B5EF4-FFF2-40B4-BE49-F238E27FC236}">
                <a16:creationId xmlns:a16="http://schemas.microsoft.com/office/drawing/2014/main" id="{B6C654C1-78F3-4BC0-A667-66CE97068E64}"/>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5</a:t>
            </a:fld>
            <a:endParaRPr lang="de-DE" dirty="0"/>
          </a:p>
        </p:txBody>
      </p:sp>
    </p:spTree>
    <p:extLst>
      <p:ext uri="{BB962C8B-B14F-4D97-AF65-F5344CB8AC3E}">
        <p14:creationId xmlns:p14="http://schemas.microsoft.com/office/powerpoint/2010/main" val="62696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DA6E03-2561-4DE5-8CE3-3F969C8537AA}"/>
              </a:ext>
            </a:extLst>
          </p:cNvPr>
          <p:cNvSpPr>
            <a:spLocks noGrp="1"/>
          </p:cNvSpPr>
          <p:nvPr>
            <p:ph type="title"/>
          </p:nvPr>
        </p:nvSpPr>
        <p:spPr/>
        <p:txBody>
          <a:bodyPr>
            <a:normAutofit/>
          </a:bodyPr>
          <a:lstStyle/>
          <a:p>
            <a:r>
              <a:rPr lang="en-GB" dirty="0"/>
              <a:t>Roadmap &amp; project plan</a:t>
            </a:r>
          </a:p>
        </p:txBody>
      </p:sp>
      <p:sp>
        <p:nvSpPr>
          <p:cNvPr id="3" name="Textplatzhalter 2">
            <a:extLst>
              <a:ext uri="{FF2B5EF4-FFF2-40B4-BE49-F238E27FC236}">
                <a16:creationId xmlns:a16="http://schemas.microsoft.com/office/drawing/2014/main" id="{60CDF4FF-864C-4561-8396-6A0BB8E9A1D1}"/>
              </a:ext>
            </a:extLst>
          </p:cNvPr>
          <p:cNvSpPr>
            <a:spLocks noGrp="1"/>
          </p:cNvSpPr>
          <p:nvPr>
            <p:ph idx="1"/>
          </p:nvPr>
        </p:nvSpPr>
        <p:spPr>
          <a:xfrm>
            <a:off x="640818" y="1599666"/>
            <a:ext cx="10515600" cy="3838396"/>
          </a:xfrm>
        </p:spPr>
        <p:txBody>
          <a:bodyPr/>
          <a:lstStyle/>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a:p>
            <a:pPr marL="0" indent="0">
              <a:lnSpc>
                <a:spcPct val="150000"/>
              </a:lnSpc>
              <a:buNone/>
            </a:pPr>
            <a:r>
              <a:rPr lang="en-GB" sz="2000" dirty="0"/>
              <a:t>Lorem ipsum </a:t>
            </a:r>
            <a:r>
              <a:rPr lang="en-GB" sz="2000" dirty="0" err="1"/>
              <a:t>dolor</a:t>
            </a:r>
            <a:r>
              <a:rPr lang="en-GB" sz="2000" dirty="0"/>
              <a:t> sit </a:t>
            </a:r>
            <a:r>
              <a:rPr lang="en-GB" sz="2000" dirty="0" err="1"/>
              <a:t>amet</a:t>
            </a:r>
            <a:r>
              <a:rPr lang="en-GB" sz="2000" dirty="0"/>
              <a:t>, </a:t>
            </a:r>
            <a:r>
              <a:rPr lang="en-GB" sz="2000" dirty="0" err="1"/>
              <a:t>consetetur</a:t>
            </a:r>
            <a:r>
              <a:rPr lang="en-GB" sz="2000" dirty="0"/>
              <a:t> </a:t>
            </a:r>
            <a:r>
              <a:rPr lang="en-GB" sz="2000" dirty="0" err="1"/>
              <a:t>sadipscing</a:t>
            </a:r>
            <a:r>
              <a:rPr lang="en-GB" sz="2000" dirty="0"/>
              <a:t> </a:t>
            </a:r>
            <a:r>
              <a:rPr lang="en-GB" sz="2000" dirty="0" err="1"/>
              <a:t>elitr</a:t>
            </a:r>
            <a:r>
              <a:rPr lang="en-GB" sz="2000" dirty="0"/>
              <a:t>, </a:t>
            </a:r>
            <a:r>
              <a:rPr lang="en-GB" sz="2000" dirty="0" err="1"/>
              <a:t>sed</a:t>
            </a:r>
            <a:r>
              <a:rPr lang="en-GB" sz="2000" dirty="0"/>
              <a:t> </a:t>
            </a:r>
            <a:r>
              <a:rPr lang="en-GB" sz="2000" dirty="0" err="1"/>
              <a:t>diam</a:t>
            </a:r>
            <a:r>
              <a:rPr lang="en-GB" sz="2000" dirty="0"/>
              <a:t> </a:t>
            </a:r>
            <a:r>
              <a:rPr lang="en-GB" sz="2000" dirty="0" err="1"/>
              <a:t>nonumy</a:t>
            </a:r>
            <a:r>
              <a:rPr lang="en-GB" sz="2000" dirty="0"/>
              <a:t> </a:t>
            </a:r>
            <a:r>
              <a:rPr lang="en-GB" sz="2000" dirty="0" err="1"/>
              <a:t>eirmod</a:t>
            </a:r>
            <a:r>
              <a:rPr lang="en-GB" sz="2000" dirty="0"/>
              <a:t> </a:t>
            </a:r>
            <a:r>
              <a:rPr lang="en-GB" sz="2000" dirty="0" err="1"/>
              <a:t>tempor</a:t>
            </a:r>
            <a:r>
              <a:rPr lang="en-GB" sz="2000" dirty="0"/>
              <a:t> </a:t>
            </a:r>
            <a:r>
              <a:rPr lang="en-GB" sz="2000" dirty="0" err="1"/>
              <a:t>invidunt</a:t>
            </a:r>
            <a:r>
              <a:rPr lang="en-GB" sz="2000" dirty="0"/>
              <a:t> </a:t>
            </a:r>
            <a:r>
              <a:rPr lang="en-GB" sz="2000" dirty="0" err="1"/>
              <a:t>ut</a:t>
            </a:r>
            <a:r>
              <a:rPr lang="en-GB" sz="2000" dirty="0"/>
              <a:t> labore et dolore magna </a:t>
            </a:r>
            <a:r>
              <a:rPr lang="en-GB" sz="2000" dirty="0" err="1"/>
              <a:t>aliquyam</a:t>
            </a:r>
            <a:r>
              <a:rPr lang="en-GB" sz="2000" dirty="0"/>
              <a:t> </a:t>
            </a:r>
            <a:r>
              <a:rPr lang="en-GB" sz="2000" dirty="0" err="1"/>
              <a:t>erat</a:t>
            </a:r>
            <a:r>
              <a:rPr lang="en-GB" sz="2000" dirty="0"/>
              <a:t>, </a:t>
            </a:r>
            <a:r>
              <a:rPr lang="en-GB" sz="2000" dirty="0" err="1"/>
              <a:t>sed</a:t>
            </a:r>
            <a:r>
              <a:rPr lang="en-GB" sz="2000" dirty="0"/>
              <a:t> </a:t>
            </a:r>
            <a:r>
              <a:rPr lang="en-GB" sz="2000" dirty="0" err="1"/>
              <a:t>diam</a:t>
            </a:r>
            <a:r>
              <a:rPr lang="en-GB" sz="2000" dirty="0"/>
              <a:t> </a:t>
            </a:r>
            <a:r>
              <a:rPr lang="en-GB" sz="2000" dirty="0" err="1"/>
              <a:t>voluptua</a:t>
            </a:r>
            <a:r>
              <a:rPr lang="en-GB" sz="2000" dirty="0"/>
              <a:t>. At </a:t>
            </a:r>
            <a:r>
              <a:rPr lang="en-GB" sz="2000" dirty="0" err="1"/>
              <a:t>vero</a:t>
            </a:r>
            <a:r>
              <a:rPr lang="en-GB" sz="2000" dirty="0"/>
              <a:t> </a:t>
            </a:r>
            <a:r>
              <a:rPr lang="en-GB" sz="2000" dirty="0" err="1"/>
              <a:t>eos</a:t>
            </a:r>
            <a:r>
              <a:rPr lang="en-GB" sz="2000" dirty="0"/>
              <a:t> et </a:t>
            </a:r>
            <a:r>
              <a:rPr lang="en-GB" sz="2000" dirty="0" err="1"/>
              <a:t>accusam</a:t>
            </a:r>
            <a:r>
              <a:rPr lang="en-GB" sz="2000" dirty="0"/>
              <a:t> et </a:t>
            </a:r>
            <a:r>
              <a:rPr lang="en-GB" sz="2000" dirty="0" err="1"/>
              <a:t>justo</a:t>
            </a:r>
            <a:r>
              <a:rPr lang="en-GB" sz="2000" dirty="0"/>
              <a:t> duo </a:t>
            </a:r>
            <a:r>
              <a:rPr lang="en-GB" sz="2000" dirty="0" err="1"/>
              <a:t>dolores</a:t>
            </a:r>
            <a:r>
              <a:rPr lang="en-GB" sz="2000" dirty="0"/>
              <a:t> et </a:t>
            </a:r>
            <a:r>
              <a:rPr lang="en-GB" sz="2000" dirty="0" err="1"/>
              <a:t>ea</a:t>
            </a:r>
            <a:r>
              <a:rPr lang="en-GB" sz="2000" dirty="0"/>
              <a:t> </a:t>
            </a:r>
            <a:r>
              <a:rPr lang="en-GB" sz="2000" dirty="0" err="1"/>
              <a:t>rebum</a:t>
            </a:r>
            <a:r>
              <a:rPr lang="en-GB" sz="2000" dirty="0"/>
              <a:t>. Stet </a:t>
            </a:r>
            <a:r>
              <a:rPr lang="en-GB" sz="2000" dirty="0" err="1"/>
              <a:t>clita</a:t>
            </a:r>
            <a:r>
              <a:rPr lang="en-GB" sz="2000" dirty="0"/>
              <a:t> </a:t>
            </a:r>
            <a:r>
              <a:rPr lang="en-GB" sz="2000" dirty="0" err="1"/>
              <a:t>kasd</a:t>
            </a:r>
            <a:r>
              <a:rPr lang="en-GB" sz="2000" dirty="0"/>
              <a:t> </a:t>
            </a:r>
            <a:r>
              <a:rPr lang="en-GB" sz="2000" dirty="0" err="1"/>
              <a:t>gubergren</a:t>
            </a:r>
            <a:r>
              <a:rPr lang="en-GB" sz="2000" dirty="0"/>
              <a:t>, no sea </a:t>
            </a:r>
            <a:r>
              <a:rPr lang="en-GB" sz="2000" dirty="0" err="1"/>
              <a:t>takimata</a:t>
            </a:r>
            <a:r>
              <a:rPr lang="en-GB" sz="2000" dirty="0"/>
              <a:t> </a:t>
            </a:r>
            <a:r>
              <a:rPr lang="en-GB" sz="2000" dirty="0" err="1"/>
              <a:t>sanctus</a:t>
            </a:r>
            <a:r>
              <a:rPr lang="en-GB" sz="2000" dirty="0"/>
              <a:t> </a:t>
            </a:r>
            <a:r>
              <a:rPr lang="en-GB" sz="2000" dirty="0" err="1"/>
              <a:t>est</a:t>
            </a:r>
            <a:r>
              <a:rPr lang="en-GB" sz="2000" dirty="0"/>
              <a:t> Lorem ipsum </a:t>
            </a:r>
            <a:r>
              <a:rPr lang="en-GB" sz="2000" dirty="0" err="1"/>
              <a:t>dolor</a:t>
            </a:r>
            <a:r>
              <a:rPr lang="en-GB" sz="2000" dirty="0"/>
              <a:t> sit </a:t>
            </a:r>
            <a:r>
              <a:rPr lang="en-GB" sz="2000" dirty="0" err="1"/>
              <a:t>amet</a:t>
            </a:r>
            <a:r>
              <a:rPr lang="en-GB" sz="2000" dirty="0"/>
              <a:t>. </a:t>
            </a:r>
          </a:p>
        </p:txBody>
      </p:sp>
      <p:sp>
        <p:nvSpPr>
          <p:cNvPr id="8" name="Legende mit Linie 1 4">
            <a:extLst>
              <a:ext uri="{FF2B5EF4-FFF2-40B4-BE49-F238E27FC236}">
                <a16:creationId xmlns:a16="http://schemas.microsoft.com/office/drawing/2014/main" id="{072DBDEB-5C34-4F61-8064-AE7AF9C6ABF7}"/>
              </a:ext>
            </a:extLst>
          </p:cNvPr>
          <p:cNvSpPr/>
          <p:nvPr/>
        </p:nvSpPr>
        <p:spPr>
          <a:xfrm>
            <a:off x="5615927" y="5715000"/>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Font not smaller than 16 / otherwise please open 2nd. page</a:t>
            </a:r>
          </a:p>
        </p:txBody>
      </p:sp>
      <p:sp>
        <p:nvSpPr>
          <p:cNvPr id="6" name="Legende mit Linie 1 4">
            <a:extLst>
              <a:ext uri="{FF2B5EF4-FFF2-40B4-BE49-F238E27FC236}">
                <a16:creationId xmlns:a16="http://schemas.microsoft.com/office/drawing/2014/main" id="{71B4F705-5C06-427D-B11F-C825BF7121F7}"/>
              </a:ext>
            </a:extLst>
          </p:cNvPr>
          <p:cNvSpPr/>
          <p:nvPr/>
        </p:nvSpPr>
        <p:spPr>
          <a:xfrm>
            <a:off x="5974054" y="814073"/>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Please also include a possible remote variant in your project planning. (see also next page)</a:t>
            </a:r>
            <a:endParaRPr kumimoji="0" lang="de-AT"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4" name="Foliennummernplatzhalter 3">
            <a:extLst>
              <a:ext uri="{FF2B5EF4-FFF2-40B4-BE49-F238E27FC236}">
                <a16:creationId xmlns:a16="http://schemas.microsoft.com/office/drawing/2014/main" id="{B8B3865D-C35B-47BB-8212-DF2CD2A633C6}"/>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6</a:t>
            </a:fld>
            <a:endParaRPr lang="de-DE" dirty="0"/>
          </a:p>
        </p:txBody>
      </p:sp>
    </p:spTree>
    <p:extLst>
      <p:ext uri="{BB962C8B-B14F-4D97-AF65-F5344CB8AC3E}">
        <p14:creationId xmlns:p14="http://schemas.microsoft.com/office/powerpoint/2010/main" val="2090080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644235EB-862D-4EAF-ABC6-B2415D7F92E6}"/>
              </a:ext>
            </a:extLst>
          </p:cNvPr>
          <p:cNvSpPr>
            <a:spLocks noGrp="1"/>
          </p:cNvSpPr>
          <p:nvPr>
            <p:ph type="title"/>
          </p:nvPr>
        </p:nvSpPr>
        <p:spPr/>
        <p:txBody>
          <a:bodyPr>
            <a:normAutofit/>
          </a:bodyPr>
          <a:lstStyle/>
          <a:p>
            <a:r>
              <a:rPr lang="en-GB" dirty="0"/>
              <a:t>Roadmap &amp; project plan</a:t>
            </a:r>
          </a:p>
        </p:txBody>
      </p:sp>
      <p:sp>
        <p:nvSpPr>
          <p:cNvPr id="5" name="Legende mit Linie 1 4">
            <a:extLst>
              <a:ext uri="{FF2B5EF4-FFF2-40B4-BE49-F238E27FC236}">
                <a16:creationId xmlns:a16="http://schemas.microsoft.com/office/drawing/2014/main" id="{0CF9B0A1-57C9-41F2-90DF-E512CAF1B182}"/>
              </a:ext>
            </a:extLst>
          </p:cNvPr>
          <p:cNvSpPr/>
          <p:nvPr/>
        </p:nvSpPr>
        <p:spPr>
          <a:xfrm>
            <a:off x="8684948" y="1069127"/>
            <a:ext cx="3507052" cy="698353"/>
          </a:xfrm>
          <a:prstGeom prst="borderCallout1">
            <a:avLst>
              <a:gd name="adj1" fmla="val 108413"/>
              <a:gd name="adj2" fmla="val 93884"/>
              <a:gd name="adj3" fmla="val 140895"/>
              <a:gd name="adj4" fmla="val 81388"/>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Please also include a possible remote variant in your project planning</a:t>
            </a:r>
            <a:endParaRPr kumimoji="0" lang="de-AT"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 name="AutoShape 3">
            <a:extLst>
              <a:ext uri="{FF2B5EF4-FFF2-40B4-BE49-F238E27FC236}">
                <a16:creationId xmlns:a16="http://schemas.microsoft.com/office/drawing/2014/main" id="{E04673E2-21B2-497B-8A84-6099337BE55E}"/>
              </a:ext>
            </a:extLst>
          </p:cNvPr>
          <p:cNvSpPr>
            <a:spLocks noChangeArrowheads="1"/>
          </p:cNvSpPr>
          <p:nvPr>
            <p:custDataLst>
              <p:tags r:id="rId1"/>
            </p:custDataLst>
          </p:nvPr>
        </p:nvSpPr>
        <p:spPr bwMode="gray">
          <a:xfrm>
            <a:off x="904399" y="1888365"/>
            <a:ext cx="2206625" cy="584200"/>
          </a:xfrm>
          <a:prstGeom prst="chevron">
            <a:avLst>
              <a:gd name="adj" fmla="val 34952"/>
            </a:avLst>
          </a:prstGeom>
          <a:solidFill>
            <a:srgbClr val="333F4C"/>
          </a:solidFill>
          <a:ln w="12700" cap="rnd" algn="ctr">
            <a:noFill/>
            <a:miter lim="800000"/>
            <a:headEnd/>
            <a:tailEnd/>
          </a:ln>
        </p:spPr>
        <p:txBody>
          <a:bodyPr lIns="36000" tIns="36000" rIns="36000" bIns="36000" anchor="ctr" anchorCtr="1"/>
          <a:lstStyle/>
          <a:p>
            <a:pPr marL="0" marR="0" lvl="0" indent="0" algn="ctr" defTabSz="914446" eaLnBrk="1" fontAlgn="auto" latinLnBrk="0" hangingPunct="1">
              <a:lnSpc>
                <a:spcPct val="106000"/>
              </a:lnSpc>
              <a:spcBef>
                <a:spcPts val="0"/>
              </a:spcBef>
              <a:spcAft>
                <a:spcPts val="0"/>
              </a:spcAft>
              <a:buClrTx/>
              <a:buSzTx/>
              <a:buFontTx/>
              <a:buNone/>
              <a:tabLst/>
              <a:defRPr/>
            </a:pPr>
            <a:r>
              <a:rPr lang="en-US" kern="0" dirty="0">
                <a:solidFill>
                  <a:srgbClr val="FFFFFF"/>
                </a:solidFill>
                <a:latin typeface="Century" panose="02040604050505020304" pitchFamily="18" charset="0"/>
                <a:ea typeface="Microsoft Sans Serif" panose="020B0604020202020204" pitchFamily="34" charset="0"/>
                <a:cs typeface="Microsoft Sans Serif" panose="020B0604020202020204" pitchFamily="34" charset="0"/>
              </a:rPr>
              <a:t>step</a:t>
            </a:r>
            <a:r>
              <a:rPr kumimoji="0" lang="en-US" i="0" u="none" strike="noStrike" kern="0" cap="none" spc="0" normalizeH="0" baseline="0" noProof="0" dirty="0">
                <a:ln>
                  <a:noFill/>
                </a:ln>
                <a:solidFill>
                  <a:srgbClr val="FFFFFF"/>
                </a:solidFill>
                <a:effectLst/>
                <a:uLnTx/>
                <a:uFillTx/>
                <a:latin typeface="Century" panose="02040604050505020304" pitchFamily="18" charset="0"/>
                <a:ea typeface="Microsoft Sans Serif" panose="020B0604020202020204" pitchFamily="34" charset="0"/>
                <a:cs typeface="Microsoft Sans Serif" panose="020B0604020202020204" pitchFamily="34" charset="0"/>
              </a:rPr>
              <a:t> 1</a:t>
            </a:r>
          </a:p>
        </p:txBody>
      </p:sp>
      <p:sp>
        <p:nvSpPr>
          <p:cNvPr id="7" name="AutoShape 4">
            <a:extLst>
              <a:ext uri="{FF2B5EF4-FFF2-40B4-BE49-F238E27FC236}">
                <a16:creationId xmlns:a16="http://schemas.microsoft.com/office/drawing/2014/main" id="{77C37128-2507-42F4-8109-894030AE204B}"/>
              </a:ext>
            </a:extLst>
          </p:cNvPr>
          <p:cNvSpPr>
            <a:spLocks noChangeArrowheads="1"/>
          </p:cNvSpPr>
          <p:nvPr>
            <p:custDataLst>
              <p:tags r:id="rId2"/>
            </p:custDataLst>
          </p:nvPr>
        </p:nvSpPr>
        <p:spPr bwMode="gray">
          <a:xfrm>
            <a:off x="2986613" y="1884433"/>
            <a:ext cx="2206625" cy="588131"/>
          </a:xfrm>
          <a:prstGeom prst="chevron">
            <a:avLst>
              <a:gd name="adj" fmla="val 34975"/>
            </a:avLst>
          </a:prstGeom>
          <a:solidFill>
            <a:srgbClr val="C7FCD0"/>
          </a:solidFill>
          <a:ln w="12700" cap="rnd" algn="ctr">
            <a:noFill/>
            <a:miter lim="800000"/>
            <a:headEnd/>
            <a:tailEnd/>
          </a:ln>
        </p:spPr>
        <p:txBody>
          <a:bodyPr lIns="36000" tIns="36000" rIns="36000" bIns="36000" anchor="ctr" anchorCtr="1"/>
          <a:lstStyle/>
          <a:p>
            <a:pPr algn="ctr" defTabSz="914446">
              <a:lnSpc>
                <a:spcPct val="106000"/>
              </a:lnSpc>
              <a:defRPr/>
            </a:pPr>
            <a:r>
              <a:rPr lang="en-US" kern="0" dirty="0">
                <a:latin typeface="Century" panose="02040604050505020304" pitchFamily="18" charset="0"/>
                <a:ea typeface="Microsoft Sans Serif" panose="020B0604020202020204" pitchFamily="34" charset="0"/>
                <a:cs typeface="Microsoft Sans Serif" panose="020B0604020202020204" pitchFamily="34" charset="0"/>
              </a:rPr>
              <a:t>step 2</a:t>
            </a:r>
          </a:p>
        </p:txBody>
      </p:sp>
      <p:sp>
        <p:nvSpPr>
          <p:cNvPr id="9" name="AutoShape 4">
            <a:extLst>
              <a:ext uri="{FF2B5EF4-FFF2-40B4-BE49-F238E27FC236}">
                <a16:creationId xmlns:a16="http://schemas.microsoft.com/office/drawing/2014/main" id="{2008F5D7-09FF-43D2-8968-22051F0DD4E9}"/>
              </a:ext>
            </a:extLst>
          </p:cNvPr>
          <p:cNvSpPr>
            <a:spLocks noChangeArrowheads="1"/>
          </p:cNvSpPr>
          <p:nvPr>
            <p:custDataLst>
              <p:tags r:id="rId3"/>
            </p:custDataLst>
          </p:nvPr>
        </p:nvSpPr>
        <p:spPr bwMode="gray">
          <a:xfrm>
            <a:off x="5068827" y="1891744"/>
            <a:ext cx="2206625" cy="584200"/>
          </a:xfrm>
          <a:prstGeom prst="chevron">
            <a:avLst>
              <a:gd name="adj" fmla="val 34975"/>
            </a:avLst>
          </a:prstGeom>
          <a:solidFill>
            <a:srgbClr val="C7FCD0"/>
          </a:solidFill>
          <a:ln w="12700" cap="rnd" algn="ctr">
            <a:noFill/>
            <a:miter lim="800000"/>
            <a:headEnd/>
            <a:tailEnd/>
          </a:ln>
        </p:spPr>
        <p:txBody>
          <a:bodyPr lIns="36000" tIns="36000" rIns="36000" bIns="36000" anchor="ctr" anchorCtr="1"/>
          <a:lstStyle/>
          <a:p>
            <a:pPr algn="ctr" defTabSz="914446">
              <a:lnSpc>
                <a:spcPct val="106000"/>
              </a:lnSpc>
              <a:defRPr/>
            </a:pPr>
            <a:r>
              <a:rPr lang="en-US" kern="0" dirty="0">
                <a:latin typeface="Century" panose="02040604050505020304" pitchFamily="18" charset="0"/>
                <a:ea typeface="Microsoft Sans Serif" panose="020B0604020202020204" pitchFamily="34" charset="0"/>
                <a:cs typeface="Microsoft Sans Serif" panose="020B0604020202020204" pitchFamily="34" charset="0"/>
              </a:rPr>
              <a:t>step 3</a:t>
            </a:r>
          </a:p>
        </p:txBody>
      </p:sp>
      <p:sp>
        <p:nvSpPr>
          <p:cNvPr id="10" name="AutoShape 6">
            <a:extLst>
              <a:ext uri="{FF2B5EF4-FFF2-40B4-BE49-F238E27FC236}">
                <a16:creationId xmlns:a16="http://schemas.microsoft.com/office/drawing/2014/main" id="{2E1417B8-1165-4C8B-AB01-FA28EBB9B097}"/>
              </a:ext>
            </a:extLst>
          </p:cNvPr>
          <p:cNvSpPr>
            <a:spLocks noChangeArrowheads="1"/>
          </p:cNvSpPr>
          <p:nvPr>
            <p:custDataLst>
              <p:tags r:id="rId4"/>
            </p:custDataLst>
          </p:nvPr>
        </p:nvSpPr>
        <p:spPr bwMode="gray">
          <a:xfrm>
            <a:off x="7977665" y="1891744"/>
            <a:ext cx="2206625" cy="584200"/>
          </a:xfrm>
          <a:prstGeom prst="chevron">
            <a:avLst>
              <a:gd name="adj" fmla="val 34975"/>
            </a:avLst>
          </a:prstGeom>
          <a:solidFill>
            <a:srgbClr val="FF9E79"/>
          </a:solidFill>
          <a:ln w="12700" cap="rnd" algn="ctr">
            <a:noFill/>
            <a:miter lim="800000"/>
            <a:headEnd/>
            <a:tailEnd/>
          </a:ln>
        </p:spPr>
        <p:txBody>
          <a:bodyPr lIns="36000" tIns="36000" rIns="36000" bIns="36000" anchor="ctr" anchorCtr="1"/>
          <a:lstStyle/>
          <a:p>
            <a:pPr algn="ctr" defTabSz="914446">
              <a:lnSpc>
                <a:spcPct val="106000"/>
              </a:lnSpc>
              <a:defRPr/>
            </a:pPr>
            <a:r>
              <a:rPr lang="en-US" kern="0" dirty="0">
                <a:solidFill>
                  <a:schemeClr val="bg1"/>
                </a:solidFill>
                <a:latin typeface="Century" panose="02040604050505020304" pitchFamily="18" charset="0"/>
                <a:ea typeface="Microsoft Sans Serif" panose="020B0604020202020204" pitchFamily="34" charset="0"/>
                <a:cs typeface="Microsoft Sans Serif" panose="020B0604020202020204" pitchFamily="34" charset="0"/>
              </a:rPr>
              <a:t>remote</a:t>
            </a:r>
          </a:p>
        </p:txBody>
      </p:sp>
      <p:sp>
        <p:nvSpPr>
          <p:cNvPr id="12" name="Textplatzhalter 3">
            <a:extLst>
              <a:ext uri="{FF2B5EF4-FFF2-40B4-BE49-F238E27FC236}">
                <a16:creationId xmlns:a16="http://schemas.microsoft.com/office/drawing/2014/main" id="{0710D854-9A08-4BDD-8ECC-7516091C2447}"/>
              </a:ext>
            </a:extLst>
          </p:cNvPr>
          <p:cNvSpPr txBox="1">
            <a:spLocks/>
          </p:cNvSpPr>
          <p:nvPr/>
        </p:nvSpPr>
        <p:spPr>
          <a:xfrm>
            <a:off x="3084871" y="2622752"/>
            <a:ext cx="1994159" cy="366525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Microsoft Sans Serif" panose="020B0604020202020204" pitchFamily="34" charset="0"/>
                <a:ea typeface="+mn-ea"/>
                <a:cs typeface="Microsoft Sans Serif"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de-DE" sz="1600" dirty="0" err="1"/>
              <a:t>Lorem</a:t>
            </a:r>
            <a:r>
              <a:rPr lang="de-DE" sz="1600" dirty="0"/>
              <a:t> </a:t>
            </a:r>
            <a:r>
              <a:rPr lang="de-DE" sz="1600" dirty="0" err="1"/>
              <a:t>ipsum</a:t>
            </a:r>
            <a:r>
              <a:rPr lang="de-DE" sz="1600" dirty="0"/>
              <a:t> </a:t>
            </a:r>
            <a:r>
              <a:rPr lang="de-DE" sz="1600" dirty="0" err="1"/>
              <a:t>dolor</a:t>
            </a:r>
            <a:r>
              <a:rPr lang="de-DE" sz="1600" dirty="0"/>
              <a:t> </a:t>
            </a:r>
            <a:r>
              <a:rPr lang="de-DE" sz="1600" dirty="0" err="1"/>
              <a:t>sit</a:t>
            </a:r>
            <a:r>
              <a:rPr lang="de-DE" sz="1600" dirty="0"/>
              <a:t> </a:t>
            </a:r>
            <a:r>
              <a:rPr lang="de-DE" sz="1600" dirty="0" err="1"/>
              <a:t>amet</a:t>
            </a:r>
            <a:r>
              <a:rPr lang="de-DE" sz="1600" dirty="0"/>
              <a:t>, </a:t>
            </a:r>
            <a:r>
              <a:rPr lang="de-DE" sz="1600" dirty="0" err="1"/>
              <a:t>consetetur</a:t>
            </a:r>
            <a:endParaRPr lang="de-DE" sz="1600" dirty="0"/>
          </a:p>
          <a:p>
            <a:pPr>
              <a:lnSpc>
                <a:spcPct val="100000"/>
              </a:lnSpc>
              <a:spcBef>
                <a:spcPts val="600"/>
              </a:spcBef>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a:lnSpc>
                <a:spcPct val="100000"/>
              </a:lnSpc>
            </a:pPr>
            <a:endParaRPr lang="da-DK" sz="1600" dirty="0"/>
          </a:p>
          <a:p>
            <a:pPr>
              <a:lnSpc>
                <a:spcPct val="100000"/>
              </a:lnSpc>
            </a:pPr>
            <a:endParaRPr lang="de-DE" dirty="0"/>
          </a:p>
        </p:txBody>
      </p:sp>
      <p:sp>
        <p:nvSpPr>
          <p:cNvPr id="13" name="Textplatzhalter 3">
            <a:extLst>
              <a:ext uri="{FF2B5EF4-FFF2-40B4-BE49-F238E27FC236}">
                <a16:creationId xmlns:a16="http://schemas.microsoft.com/office/drawing/2014/main" id="{DFA14559-F432-4DA0-A43B-3BAFB5B83DF8}"/>
              </a:ext>
            </a:extLst>
          </p:cNvPr>
          <p:cNvSpPr txBox="1">
            <a:spLocks/>
          </p:cNvSpPr>
          <p:nvPr/>
        </p:nvSpPr>
        <p:spPr>
          <a:xfrm>
            <a:off x="5068827" y="2626131"/>
            <a:ext cx="2206625" cy="365111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Microsoft Sans Serif" panose="020B0604020202020204" pitchFamily="34" charset="0"/>
                <a:ea typeface="+mn-ea"/>
                <a:cs typeface="Microsoft Sans Serif"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de-DE" sz="1600" dirty="0" err="1"/>
              <a:t>Lorem</a:t>
            </a:r>
            <a:r>
              <a:rPr lang="de-DE" sz="1600" dirty="0"/>
              <a:t> </a:t>
            </a:r>
            <a:r>
              <a:rPr lang="de-DE" sz="1600" dirty="0" err="1"/>
              <a:t>ipsum</a:t>
            </a:r>
            <a:r>
              <a:rPr lang="de-DE" sz="1600" dirty="0"/>
              <a:t> </a:t>
            </a:r>
            <a:r>
              <a:rPr lang="de-DE" sz="1600" dirty="0" err="1"/>
              <a:t>dolor</a:t>
            </a:r>
            <a:r>
              <a:rPr lang="de-DE" sz="1600" dirty="0"/>
              <a:t> </a:t>
            </a:r>
            <a:r>
              <a:rPr lang="de-DE" sz="1600" dirty="0" err="1"/>
              <a:t>sit</a:t>
            </a:r>
            <a:r>
              <a:rPr lang="de-DE" sz="1600" dirty="0"/>
              <a:t> </a:t>
            </a:r>
            <a:r>
              <a:rPr lang="de-DE" sz="1600" dirty="0" err="1"/>
              <a:t>amet</a:t>
            </a:r>
            <a:r>
              <a:rPr lang="de-DE" sz="1600" dirty="0"/>
              <a:t>, </a:t>
            </a:r>
            <a:r>
              <a:rPr lang="de-DE" sz="1600" dirty="0" err="1"/>
              <a:t>consetetur</a:t>
            </a:r>
            <a:endParaRPr lang="de-DE" sz="1600" dirty="0"/>
          </a:p>
          <a:p>
            <a:pPr>
              <a:lnSpc>
                <a:spcPct val="100000"/>
              </a:lnSpc>
              <a:spcBef>
                <a:spcPts val="600"/>
              </a:spcBef>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a:lnSpc>
                <a:spcPct val="100000"/>
              </a:lnSpc>
            </a:pPr>
            <a:endParaRPr lang="da-DK" sz="1600" dirty="0"/>
          </a:p>
          <a:p>
            <a:pPr>
              <a:lnSpc>
                <a:spcPct val="100000"/>
              </a:lnSpc>
            </a:pPr>
            <a:endParaRPr lang="de-DE" dirty="0"/>
          </a:p>
        </p:txBody>
      </p:sp>
      <p:sp>
        <p:nvSpPr>
          <p:cNvPr id="15" name="Textplatzhalter 3">
            <a:extLst>
              <a:ext uri="{FF2B5EF4-FFF2-40B4-BE49-F238E27FC236}">
                <a16:creationId xmlns:a16="http://schemas.microsoft.com/office/drawing/2014/main" id="{89D0D2BC-E470-478D-8D45-6E6401411580}"/>
              </a:ext>
            </a:extLst>
          </p:cNvPr>
          <p:cNvSpPr txBox="1">
            <a:spLocks/>
          </p:cNvSpPr>
          <p:nvPr/>
        </p:nvSpPr>
        <p:spPr>
          <a:xfrm>
            <a:off x="904398" y="2636901"/>
            <a:ext cx="2206625" cy="365111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Microsoft Sans Serif" panose="020B0604020202020204" pitchFamily="34" charset="0"/>
                <a:ea typeface="+mn-ea"/>
                <a:cs typeface="Microsoft Sans Serif"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de-DE" sz="1600" dirty="0" err="1"/>
              <a:t>Lorem</a:t>
            </a:r>
            <a:r>
              <a:rPr lang="de-DE" sz="1600" dirty="0"/>
              <a:t> </a:t>
            </a:r>
            <a:r>
              <a:rPr lang="de-DE" sz="1600" dirty="0" err="1"/>
              <a:t>ipsum</a:t>
            </a:r>
            <a:r>
              <a:rPr lang="de-DE" sz="1600" dirty="0"/>
              <a:t> </a:t>
            </a:r>
            <a:r>
              <a:rPr lang="de-DE" sz="1600" dirty="0" err="1"/>
              <a:t>dolor</a:t>
            </a:r>
            <a:r>
              <a:rPr lang="de-DE" sz="1600" dirty="0"/>
              <a:t> </a:t>
            </a:r>
            <a:r>
              <a:rPr lang="de-DE" sz="1600" dirty="0" err="1"/>
              <a:t>sit</a:t>
            </a:r>
            <a:r>
              <a:rPr lang="de-DE" sz="1600" dirty="0"/>
              <a:t> </a:t>
            </a:r>
            <a:r>
              <a:rPr lang="de-DE" sz="1600" dirty="0" err="1"/>
              <a:t>amet</a:t>
            </a:r>
            <a:r>
              <a:rPr lang="de-DE" sz="1600" dirty="0"/>
              <a:t>, </a:t>
            </a:r>
            <a:r>
              <a:rPr lang="de-DE" sz="1600" dirty="0" err="1"/>
              <a:t>consetetur</a:t>
            </a:r>
            <a:endParaRPr lang="de-DE" sz="1600" dirty="0"/>
          </a:p>
          <a:p>
            <a:pPr>
              <a:lnSpc>
                <a:spcPct val="100000"/>
              </a:lnSpc>
              <a:spcBef>
                <a:spcPts val="600"/>
              </a:spcBef>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a:lnSpc>
                <a:spcPct val="100000"/>
              </a:lnSpc>
            </a:pPr>
            <a:endParaRPr lang="da-DK" sz="1600" dirty="0"/>
          </a:p>
          <a:p>
            <a:pPr>
              <a:lnSpc>
                <a:spcPct val="100000"/>
              </a:lnSpc>
            </a:pPr>
            <a:endParaRPr lang="de-DE" dirty="0"/>
          </a:p>
        </p:txBody>
      </p:sp>
      <p:sp>
        <p:nvSpPr>
          <p:cNvPr id="16" name="Textplatzhalter 3">
            <a:extLst>
              <a:ext uri="{FF2B5EF4-FFF2-40B4-BE49-F238E27FC236}">
                <a16:creationId xmlns:a16="http://schemas.microsoft.com/office/drawing/2014/main" id="{224E91BC-0632-445B-92DE-51A5617AE5A9}"/>
              </a:ext>
            </a:extLst>
          </p:cNvPr>
          <p:cNvSpPr txBox="1">
            <a:spLocks/>
          </p:cNvSpPr>
          <p:nvPr/>
        </p:nvSpPr>
        <p:spPr>
          <a:xfrm>
            <a:off x="7977664" y="2645855"/>
            <a:ext cx="2206625" cy="363138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1"/>
                </a:solidFill>
                <a:latin typeface="Microsoft Sans Serif" panose="020B0604020202020204" pitchFamily="34" charset="0"/>
                <a:ea typeface="+mn-ea"/>
                <a:cs typeface="Microsoft Sans Serif"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de-DE" sz="1600" dirty="0" err="1"/>
              <a:t>Lorem</a:t>
            </a:r>
            <a:r>
              <a:rPr lang="de-DE" sz="1600" dirty="0"/>
              <a:t> </a:t>
            </a:r>
            <a:r>
              <a:rPr lang="de-DE" sz="1600" dirty="0" err="1"/>
              <a:t>ipsum</a:t>
            </a:r>
            <a:r>
              <a:rPr lang="de-DE" sz="1600" dirty="0"/>
              <a:t> </a:t>
            </a:r>
            <a:r>
              <a:rPr lang="de-DE" sz="1600" dirty="0" err="1"/>
              <a:t>dolor</a:t>
            </a:r>
            <a:r>
              <a:rPr lang="de-DE" sz="1600" dirty="0"/>
              <a:t> </a:t>
            </a:r>
            <a:r>
              <a:rPr lang="de-DE" sz="1600" dirty="0" err="1"/>
              <a:t>sit</a:t>
            </a:r>
            <a:r>
              <a:rPr lang="de-DE" sz="1600" dirty="0"/>
              <a:t> </a:t>
            </a:r>
            <a:r>
              <a:rPr lang="de-DE" sz="1600" dirty="0" err="1"/>
              <a:t>amet</a:t>
            </a:r>
            <a:r>
              <a:rPr lang="de-DE" sz="1600" dirty="0"/>
              <a:t>, </a:t>
            </a:r>
            <a:r>
              <a:rPr lang="de-DE" sz="1600" dirty="0" err="1"/>
              <a:t>consetetur</a:t>
            </a:r>
            <a:endParaRPr lang="de-DE" sz="1600" dirty="0"/>
          </a:p>
          <a:p>
            <a:pPr>
              <a:lnSpc>
                <a:spcPct val="100000"/>
              </a:lnSpc>
              <a:spcBef>
                <a:spcPts val="600"/>
              </a:spcBef>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marL="285750" indent="-285750">
              <a:lnSpc>
                <a:spcPct val="100000"/>
              </a:lnSpc>
              <a:spcBef>
                <a:spcPts val="600"/>
              </a:spcBef>
              <a:buFont typeface="Arial" panose="020B0604020202020204" pitchFamily="34" charset="0"/>
              <a:buChar char="•"/>
            </a:pPr>
            <a:r>
              <a:rPr lang="da-DK" sz="1600" dirty="0"/>
              <a:t>Lorem ipsum dolor sit amet, consetetur </a:t>
            </a:r>
          </a:p>
          <a:p>
            <a:pPr>
              <a:lnSpc>
                <a:spcPct val="100000"/>
              </a:lnSpc>
            </a:pPr>
            <a:endParaRPr lang="da-DK" sz="1600" dirty="0"/>
          </a:p>
          <a:p>
            <a:pPr>
              <a:lnSpc>
                <a:spcPct val="100000"/>
              </a:lnSpc>
            </a:pPr>
            <a:endParaRPr lang="de-DE" dirty="0"/>
          </a:p>
        </p:txBody>
      </p:sp>
      <p:sp>
        <p:nvSpPr>
          <p:cNvPr id="2" name="Foliennummernplatzhalter 1">
            <a:extLst>
              <a:ext uri="{FF2B5EF4-FFF2-40B4-BE49-F238E27FC236}">
                <a16:creationId xmlns:a16="http://schemas.microsoft.com/office/drawing/2014/main" id="{B45D1B26-4629-4FFF-BC48-1AA016B04357}"/>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7</a:t>
            </a:fld>
            <a:endParaRPr lang="de-DE" dirty="0"/>
          </a:p>
        </p:txBody>
      </p:sp>
    </p:spTree>
    <p:extLst>
      <p:ext uri="{BB962C8B-B14F-4D97-AF65-F5344CB8AC3E}">
        <p14:creationId xmlns:p14="http://schemas.microsoft.com/office/powerpoint/2010/main" val="1831831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511C67-760F-4FD5-9BA7-50310731BC51}"/>
              </a:ext>
            </a:extLst>
          </p:cNvPr>
          <p:cNvSpPr>
            <a:spLocks noGrp="1"/>
          </p:cNvSpPr>
          <p:nvPr>
            <p:ph type="title"/>
          </p:nvPr>
        </p:nvSpPr>
        <p:spPr/>
        <p:txBody>
          <a:bodyPr/>
          <a:lstStyle/>
          <a:p>
            <a:r>
              <a:rPr lang="de-DE" dirty="0"/>
              <a:t>Commercials</a:t>
            </a:r>
            <a:endParaRPr lang="de-AT" dirty="0"/>
          </a:p>
        </p:txBody>
      </p:sp>
      <p:sp>
        <p:nvSpPr>
          <p:cNvPr id="3" name="Inhaltsplatzhalter 2">
            <a:extLst>
              <a:ext uri="{FF2B5EF4-FFF2-40B4-BE49-F238E27FC236}">
                <a16:creationId xmlns:a16="http://schemas.microsoft.com/office/drawing/2014/main" id="{E9E19817-2781-422B-8286-889E544F32E9}"/>
              </a:ext>
            </a:extLst>
          </p:cNvPr>
          <p:cNvSpPr>
            <a:spLocks noGrp="1"/>
          </p:cNvSpPr>
          <p:nvPr>
            <p:ph idx="1"/>
          </p:nvPr>
        </p:nvSpPr>
        <p:spPr>
          <a:xfrm>
            <a:off x="640818" y="1599666"/>
            <a:ext cx="10515600" cy="3661155"/>
          </a:xfrm>
        </p:spPr>
        <p:txBody>
          <a:bodyPr/>
          <a:lstStyle/>
          <a:p>
            <a:pPr marL="0" indent="0">
              <a:lnSpc>
                <a:spcPct val="150000"/>
              </a:lnSpc>
              <a:buNone/>
            </a:pPr>
            <a:r>
              <a:rPr lang="en-US" sz="2000" dirty="0"/>
              <a:t>Based on our current assumptions we plan to deliver the services described within XXX consulting days. The charged fee per consulting day is </a:t>
            </a:r>
            <a:r>
              <a:rPr lang="en-US" sz="2000" b="1" dirty="0"/>
              <a:t>Euro XXX </a:t>
            </a:r>
            <a:r>
              <a:rPr lang="en-US" sz="2000" dirty="0"/>
              <a:t>(excl. VAT). We thus offer the project, according to current planning, for the price of </a:t>
            </a:r>
            <a:r>
              <a:rPr lang="en-US" sz="2000" b="1" dirty="0"/>
              <a:t>Euro XXX </a:t>
            </a:r>
            <a:r>
              <a:rPr lang="en-US" sz="2000" dirty="0"/>
              <a:t>(excl. VAT).​</a:t>
            </a:r>
          </a:p>
          <a:p>
            <a:pPr marL="0" indent="0">
              <a:lnSpc>
                <a:spcPct val="150000"/>
              </a:lnSpc>
              <a:buNone/>
            </a:pPr>
            <a:r>
              <a:rPr lang="en-US" sz="2000" dirty="0"/>
              <a:t>Travel and cash expense as well as expenses for potential third parties are not included in this proposal. They will be charged separately and at cost. ​</a:t>
            </a:r>
          </a:p>
          <a:p>
            <a:pPr marL="0" indent="0">
              <a:lnSpc>
                <a:spcPct val="150000"/>
              </a:lnSpc>
              <a:buNone/>
            </a:pPr>
            <a:r>
              <a:rPr lang="en-US" sz="2000" dirty="0"/>
              <a:t>The General terms &amp; conditions of Klaiton Advisory GmbH shall apply. ​</a:t>
            </a:r>
          </a:p>
          <a:p>
            <a:pPr marL="0" indent="0">
              <a:lnSpc>
                <a:spcPct val="150000"/>
              </a:lnSpc>
              <a:buNone/>
            </a:pPr>
            <a:r>
              <a:rPr lang="en-US" sz="2000" dirty="0"/>
              <a:t>The English translation is provided for information purposes only. </a:t>
            </a:r>
            <a:endParaRPr lang="de-AT" dirty="0"/>
          </a:p>
        </p:txBody>
      </p:sp>
      <p:sp>
        <p:nvSpPr>
          <p:cNvPr id="4" name="Legende mit Linie 1 4">
            <a:extLst>
              <a:ext uri="{FF2B5EF4-FFF2-40B4-BE49-F238E27FC236}">
                <a16:creationId xmlns:a16="http://schemas.microsoft.com/office/drawing/2014/main" id="{82863AEA-080D-472B-A6E9-F441D21B3AA5}"/>
              </a:ext>
            </a:extLst>
          </p:cNvPr>
          <p:cNvSpPr/>
          <p:nvPr/>
        </p:nvSpPr>
        <p:spPr>
          <a:xfrm>
            <a:off x="5615927" y="627883"/>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Change as required and in consultation with the client</a:t>
            </a:r>
            <a:endParaRPr kumimoji="0" lang="de-AT"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5" name="Legende mit Linie 1 4">
            <a:extLst>
              <a:ext uri="{FF2B5EF4-FFF2-40B4-BE49-F238E27FC236}">
                <a16:creationId xmlns:a16="http://schemas.microsoft.com/office/drawing/2014/main" id="{D2B4BB8F-8FBF-44B2-91C5-706862A8A9BB}"/>
              </a:ext>
            </a:extLst>
          </p:cNvPr>
          <p:cNvSpPr/>
          <p:nvPr/>
        </p:nvSpPr>
        <p:spPr>
          <a:xfrm>
            <a:off x="5615927" y="5715000"/>
            <a:ext cx="4008146" cy="940361"/>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indent="-285750" defTabSz="914446">
              <a:buFont typeface="Arial" panose="020B0604020202020204" pitchFamily="34" charset="0"/>
              <a:buChar char="•"/>
            </a:pPr>
            <a:r>
              <a:rPr lang="de-AT" sz="1400" b="0" i="0" u="none" strike="noStrike" dirty="0">
                <a:solidFill>
                  <a:srgbClr val="000000"/>
                </a:solidFill>
                <a:effectLst/>
                <a:latin typeface="Microsoft Sans Serif" panose="020B0604020202020204" pitchFamily="34" charset="0"/>
              </a:rPr>
              <a:t>Font not </a:t>
            </a:r>
            <a:r>
              <a:rPr lang="de-AT" sz="1400" b="0" i="0" u="none" strike="noStrike" dirty="0" err="1">
                <a:solidFill>
                  <a:srgbClr val="000000"/>
                </a:solidFill>
                <a:effectLst/>
                <a:latin typeface="Microsoft Sans Serif" panose="020B0604020202020204" pitchFamily="34" charset="0"/>
              </a:rPr>
              <a:t>smaller</a:t>
            </a:r>
            <a:r>
              <a:rPr lang="de-AT" sz="1400" b="0" i="0" u="none" strike="noStrike" dirty="0">
                <a:solidFill>
                  <a:srgbClr val="000000"/>
                </a:solidFill>
                <a:effectLst/>
                <a:latin typeface="Microsoft Sans Serif" panose="020B0604020202020204" pitchFamily="34" charset="0"/>
              </a:rPr>
              <a:t> </a:t>
            </a:r>
            <a:r>
              <a:rPr lang="de-AT" sz="1400" b="0" i="0" u="none" strike="noStrike" dirty="0" err="1">
                <a:solidFill>
                  <a:srgbClr val="000000"/>
                </a:solidFill>
                <a:effectLst/>
                <a:latin typeface="Microsoft Sans Serif" panose="020B0604020202020204" pitchFamily="34" charset="0"/>
              </a:rPr>
              <a:t>than</a:t>
            </a:r>
            <a:r>
              <a:rPr lang="de-AT" sz="1400" b="0" i="0" u="none" strike="noStrike" dirty="0">
                <a:solidFill>
                  <a:srgbClr val="000000"/>
                </a:solidFill>
                <a:effectLst/>
                <a:latin typeface="Microsoft Sans Serif" panose="020B0604020202020204" pitchFamily="34" charset="0"/>
              </a:rPr>
              <a:t> 16 / </a:t>
            </a:r>
            <a:r>
              <a:rPr lang="de-AT" sz="1400" b="0" i="0" u="none" strike="noStrike" dirty="0" err="1">
                <a:solidFill>
                  <a:srgbClr val="000000"/>
                </a:solidFill>
                <a:effectLst/>
                <a:latin typeface="Microsoft Sans Serif" panose="020B0604020202020204" pitchFamily="34" charset="0"/>
              </a:rPr>
              <a:t>otherwise</a:t>
            </a:r>
            <a:r>
              <a:rPr lang="de-AT" sz="1400" b="0" i="0" u="none" strike="noStrike" dirty="0">
                <a:solidFill>
                  <a:srgbClr val="000000"/>
                </a:solidFill>
                <a:effectLst/>
                <a:latin typeface="Microsoft Sans Serif" panose="020B0604020202020204" pitchFamily="34" charset="0"/>
              </a:rPr>
              <a:t> </a:t>
            </a:r>
            <a:r>
              <a:rPr lang="de-AT" sz="1400" b="0" i="0" u="none" strike="noStrike" dirty="0" err="1">
                <a:solidFill>
                  <a:srgbClr val="000000"/>
                </a:solidFill>
                <a:effectLst/>
                <a:latin typeface="Microsoft Sans Serif" panose="020B0604020202020204" pitchFamily="34" charset="0"/>
              </a:rPr>
              <a:t>pls</a:t>
            </a:r>
            <a:r>
              <a:rPr lang="de-AT" sz="1400" b="0" i="0" u="none" strike="noStrike" dirty="0">
                <a:solidFill>
                  <a:srgbClr val="000000"/>
                </a:solidFill>
                <a:effectLst/>
                <a:latin typeface="Microsoft Sans Serif" panose="020B0604020202020204" pitchFamily="34" charset="0"/>
              </a:rPr>
              <a:t> open 2nd </a:t>
            </a:r>
            <a:r>
              <a:rPr lang="de-AT" sz="1400" b="0" i="0" u="none" strike="noStrike" dirty="0" err="1">
                <a:solidFill>
                  <a:srgbClr val="000000"/>
                </a:solidFill>
                <a:effectLst/>
                <a:latin typeface="Microsoft Sans Serif" panose="020B0604020202020204" pitchFamily="34" charset="0"/>
              </a:rPr>
              <a:t>page</a:t>
            </a:r>
            <a:endParaRPr lang="de-AT" sz="1400" kern="0" dirty="0">
              <a:solidFill>
                <a:srgbClr val="000000"/>
              </a:solidFill>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6" name="Foliennummernplatzhalter 5">
            <a:extLst>
              <a:ext uri="{FF2B5EF4-FFF2-40B4-BE49-F238E27FC236}">
                <a16:creationId xmlns:a16="http://schemas.microsoft.com/office/drawing/2014/main" id="{B488749C-EBBC-4F79-B4FD-DF8398148EEE}"/>
              </a:ext>
            </a:extLst>
          </p:cNvPr>
          <p:cNvSpPr>
            <a:spLocks noGrp="1"/>
          </p:cNvSpPr>
          <p:nvPr>
            <p:ph type="sldNum" sz="quarter" idx="14"/>
          </p:nvPr>
        </p:nvSpPr>
        <p:spPr>
          <a:xfrm>
            <a:off x="8610600" y="6356350"/>
            <a:ext cx="2743200" cy="365125"/>
          </a:xfrm>
        </p:spPr>
        <p:txBody>
          <a:bodyPr/>
          <a:lstStyle/>
          <a:p>
            <a:fld id="{5A8936CA-D2FE-9D45-8580-8E39AF73C35D}" type="slidenum">
              <a:rPr lang="de-DE" smtClean="0"/>
              <a:pPr/>
              <a:t>8</a:t>
            </a:fld>
            <a:endParaRPr lang="de-DE" dirty="0"/>
          </a:p>
        </p:txBody>
      </p:sp>
    </p:spTree>
    <p:extLst>
      <p:ext uri="{BB962C8B-B14F-4D97-AF65-F5344CB8AC3E}">
        <p14:creationId xmlns:p14="http://schemas.microsoft.com/office/powerpoint/2010/main" val="611367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ED1889-668C-49B4-889C-B2FAA95BF1B0}"/>
              </a:ext>
            </a:extLst>
          </p:cNvPr>
          <p:cNvSpPr>
            <a:spLocks noGrp="1"/>
          </p:cNvSpPr>
          <p:nvPr>
            <p:ph type="title"/>
          </p:nvPr>
        </p:nvSpPr>
        <p:spPr/>
        <p:txBody>
          <a:bodyPr/>
          <a:lstStyle/>
          <a:p>
            <a:r>
              <a:rPr lang="de-DE" dirty="0"/>
              <a:t>Commercials</a:t>
            </a:r>
            <a:endParaRPr lang="de-AT" dirty="0"/>
          </a:p>
        </p:txBody>
      </p:sp>
      <p:graphicFrame>
        <p:nvGraphicFramePr>
          <p:cNvPr id="4" name="Tabelle 4">
            <a:extLst>
              <a:ext uri="{FF2B5EF4-FFF2-40B4-BE49-F238E27FC236}">
                <a16:creationId xmlns:a16="http://schemas.microsoft.com/office/drawing/2014/main" id="{4DE2A417-5778-43BC-A6EE-032D42C447FE}"/>
              </a:ext>
            </a:extLst>
          </p:cNvPr>
          <p:cNvGraphicFramePr>
            <a:graphicFrameLocks noGrp="1"/>
          </p:cNvGraphicFramePr>
          <p:nvPr>
            <p:ph type="tbl" sz="quarter" idx="4294967295"/>
            <p:extLst>
              <p:ext uri="{D42A27DB-BD31-4B8C-83A1-F6EECF244321}">
                <p14:modId xmlns:p14="http://schemas.microsoft.com/office/powerpoint/2010/main" val="2784634458"/>
              </p:ext>
            </p:extLst>
          </p:nvPr>
        </p:nvGraphicFramePr>
        <p:xfrm>
          <a:off x="838200" y="1319450"/>
          <a:ext cx="10234248" cy="5181396"/>
        </p:xfrm>
        <a:graphic>
          <a:graphicData uri="http://schemas.openxmlformats.org/drawingml/2006/table">
            <a:tbl>
              <a:tblPr firstRow="1" bandRow="1">
                <a:tableStyleId>{2D5ABB26-0587-4C30-8999-92F81FD0307C}</a:tableStyleId>
              </a:tblPr>
              <a:tblGrid>
                <a:gridCol w="2558562">
                  <a:extLst>
                    <a:ext uri="{9D8B030D-6E8A-4147-A177-3AD203B41FA5}">
                      <a16:colId xmlns:a16="http://schemas.microsoft.com/office/drawing/2014/main" val="3697687817"/>
                    </a:ext>
                  </a:extLst>
                </a:gridCol>
                <a:gridCol w="2558562">
                  <a:extLst>
                    <a:ext uri="{9D8B030D-6E8A-4147-A177-3AD203B41FA5}">
                      <a16:colId xmlns:a16="http://schemas.microsoft.com/office/drawing/2014/main" val="31822839"/>
                    </a:ext>
                  </a:extLst>
                </a:gridCol>
                <a:gridCol w="2558562">
                  <a:extLst>
                    <a:ext uri="{9D8B030D-6E8A-4147-A177-3AD203B41FA5}">
                      <a16:colId xmlns:a16="http://schemas.microsoft.com/office/drawing/2014/main" val="941582810"/>
                    </a:ext>
                  </a:extLst>
                </a:gridCol>
                <a:gridCol w="2558562">
                  <a:extLst>
                    <a:ext uri="{9D8B030D-6E8A-4147-A177-3AD203B41FA5}">
                      <a16:colId xmlns:a16="http://schemas.microsoft.com/office/drawing/2014/main" val="2991446712"/>
                    </a:ext>
                  </a:extLst>
                </a:gridCol>
              </a:tblGrid>
              <a:tr h="592475">
                <a:tc gridSpan="4">
                  <a:txBody>
                    <a:bodyPr/>
                    <a:lstStyle/>
                    <a:p>
                      <a:pPr algn="ctr"/>
                      <a:r>
                        <a:rPr lang="de-DE" sz="2000" dirty="0">
                          <a:solidFill>
                            <a:schemeClr val="bg1"/>
                          </a:solidFill>
                        </a:rPr>
                        <a:t>[Project </a:t>
                      </a:r>
                      <a:r>
                        <a:rPr lang="de-DE" sz="2000" dirty="0" err="1">
                          <a:solidFill>
                            <a:schemeClr val="bg1"/>
                          </a:solidFill>
                        </a:rPr>
                        <a:t>name</a:t>
                      </a:r>
                      <a:r>
                        <a:rPr lang="de-DE" sz="2000" dirty="0">
                          <a:solidFill>
                            <a:schemeClr val="bg1"/>
                          </a:solidFill>
                        </a:rPr>
                        <a:t>]</a:t>
                      </a:r>
                      <a:endParaRPr lang="de-AT" sz="20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3F4C"/>
                    </a:solidFill>
                  </a:tcPr>
                </a:tc>
                <a:tc hMerge="1">
                  <a:txBody>
                    <a:bodyPr/>
                    <a:lstStyle/>
                    <a:p>
                      <a:endParaRPr lang="de-AT"/>
                    </a:p>
                  </a:txBody>
                  <a:tcPr/>
                </a:tc>
                <a:tc hMerge="1">
                  <a:txBody>
                    <a:bodyPr/>
                    <a:lstStyle/>
                    <a:p>
                      <a:endParaRPr lang="de-AT"/>
                    </a:p>
                  </a:txBody>
                  <a:tcPr/>
                </a:tc>
                <a:tc hMerge="1">
                  <a:txBody>
                    <a:bodyPr/>
                    <a:lstStyle/>
                    <a:p>
                      <a:endParaRPr lang="de-AT" dirty="0"/>
                    </a:p>
                  </a:txBody>
                  <a:tcPr/>
                </a:tc>
                <a:extLst>
                  <a:ext uri="{0D108BD9-81ED-4DB2-BD59-A6C34878D82A}">
                    <a16:rowId xmlns:a16="http://schemas.microsoft.com/office/drawing/2014/main" val="1350761086"/>
                  </a:ext>
                </a:extLst>
              </a:tr>
              <a:tr h="603171">
                <a:tc>
                  <a:txBody>
                    <a:bodyPr/>
                    <a:lstStyle/>
                    <a:p>
                      <a:r>
                        <a:rPr lang="en-GB" sz="1600" noProof="0" dirty="0">
                          <a:solidFill>
                            <a:schemeClr val="tx1"/>
                          </a:solidFill>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FAA1"/>
                    </a:solidFill>
                  </a:tcPr>
                </a:tc>
                <a:tc>
                  <a:txBody>
                    <a:bodyPr/>
                    <a:lstStyle/>
                    <a:p>
                      <a:r>
                        <a:rPr lang="en-GB" sz="1600" noProof="0" dirty="0">
                          <a:solidFill>
                            <a:schemeClr val="tx1"/>
                          </a:solidFill>
                        </a:rPr>
                        <a:t>cont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FAA1"/>
                    </a:solidFill>
                  </a:tcPr>
                </a:tc>
                <a:tc>
                  <a:txBody>
                    <a:bodyPr/>
                    <a:lstStyle/>
                    <a:p>
                      <a:r>
                        <a:rPr lang="en-GB" sz="1600" noProof="0" dirty="0">
                          <a:solidFill>
                            <a:schemeClr val="tx1"/>
                          </a:solidFill>
                        </a:rPr>
                        <a:t>consulting day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FAA1"/>
                    </a:solidFill>
                  </a:tcPr>
                </a:tc>
                <a:tc>
                  <a:txBody>
                    <a:bodyPr/>
                    <a:lstStyle/>
                    <a:p>
                      <a:r>
                        <a:rPr lang="en-GB" sz="1600" noProof="0" dirty="0">
                          <a:solidFill>
                            <a:schemeClr val="tx1"/>
                          </a:solidFill>
                        </a:rPr>
                        <a:t>invest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FFAA1"/>
                    </a:solidFill>
                  </a:tcPr>
                </a:tc>
                <a:extLst>
                  <a:ext uri="{0D108BD9-81ED-4DB2-BD59-A6C34878D82A}">
                    <a16:rowId xmlns:a16="http://schemas.microsoft.com/office/drawing/2014/main" val="3231165770"/>
                  </a:ext>
                </a:extLst>
              </a:tr>
              <a:tr h="780595">
                <a:tc>
                  <a:txBody>
                    <a:bodyPr/>
                    <a:lstStyle/>
                    <a:p>
                      <a:r>
                        <a:rPr lang="de-DE" sz="1600" dirty="0"/>
                        <a:t>1. [</a:t>
                      </a:r>
                      <a:r>
                        <a:rPr lang="de-DE" sz="1600" dirty="0" err="1"/>
                        <a:t>describe</a:t>
                      </a:r>
                      <a:r>
                        <a:rPr lang="de-DE" sz="1600" dirty="0"/>
                        <a:t> </a:t>
                      </a:r>
                      <a:r>
                        <a:rPr lang="de-DE" sz="1600" dirty="0" err="1"/>
                        <a:t>step</a:t>
                      </a:r>
                      <a:r>
                        <a:rPr lang="de-DE" sz="1600" dirty="0"/>
                        <a:t> 1]</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400" dirty="0"/>
                        <a:t>---</a:t>
                      </a:r>
                    </a:p>
                    <a:p>
                      <a:pPr marL="285750" indent="-285750">
                        <a:buFont typeface="Arial" panose="020B0604020202020204" pitchFamily="34" charset="0"/>
                        <a:buChar char="•"/>
                      </a:pPr>
                      <a:r>
                        <a:rPr lang="de-DE" sz="1400" dirty="0"/>
                        <a:t>---</a:t>
                      </a:r>
                    </a:p>
                    <a:p>
                      <a:pPr marL="285750" indent="-285750">
                        <a:buFont typeface="Arial" panose="020B0604020202020204" pitchFamily="34" charset="0"/>
                        <a:buChar char="•"/>
                      </a:pPr>
                      <a:r>
                        <a:rPr lang="de-DE" sz="1400" dirty="0"/>
                        <a:t>---</a:t>
                      </a:r>
                      <a:endParaRPr lang="de-AT"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de-DE" sz="1600" dirty="0"/>
                        <a:t>BT</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de-DE" sz="1600" dirty="0"/>
                        <a:t>EUR</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7833829"/>
                  </a:ext>
                </a:extLst>
              </a:tr>
              <a:tr h="86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2. [</a:t>
                      </a:r>
                      <a:r>
                        <a:rPr lang="de-DE" sz="1600" dirty="0" err="1"/>
                        <a:t>describe</a:t>
                      </a:r>
                      <a:r>
                        <a:rPr lang="de-DE" sz="1600" dirty="0"/>
                        <a:t> </a:t>
                      </a:r>
                      <a:r>
                        <a:rPr lang="de-DE" sz="1600" dirty="0" err="1"/>
                        <a:t>step</a:t>
                      </a:r>
                      <a:r>
                        <a:rPr lang="de-DE" sz="1600" dirty="0"/>
                        <a:t> 2]</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BT</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EUR</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01636"/>
                  </a:ext>
                </a:extLst>
              </a:tr>
              <a:tr h="86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3. [</a:t>
                      </a:r>
                      <a:r>
                        <a:rPr lang="de-DE" sz="1600" dirty="0" err="1"/>
                        <a:t>describe</a:t>
                      </a:r>
                      <a:r>
                        <a:rPr lang="de-DE" sz="1600" dirty="0"/>
                        <a:t> </a:t>
                      </a:r>
                      <a:r>
                        <a:rPr lang="de-DE" sz="1600" dirty="0" err="1"/>
                        <a:t>step</a:t>
                      </a:r>
                      <a:r>
                        <a:rPr lang="de-DE" sz="1600" dirty="0"/>
                        <a:t> 3]</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BT</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EUR</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0915271"/>
                  </a:ext>
                </a:extLst>
              </a:tr>
              <a:tr h="8673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4. [</a:t>
                      </a:r>
                      <a:r>
                        <a:rPr lang="de-DE" sz="1600" dirty="0" err="1"/>
                        <a:t>describe</a:t>
                      </a:r>
                      <a:r>
                        <a:rPr lang="de-DE" sz="1600" dirty="0"/>
                        <a:t> </a:t>
                      </a:r>
                      <a:r>
                        <a:rPr lang="de-DE" sz="1600" dirty="0" err="1"/>
                        <a:t>step</a:t>
                      </a:r>
                      <a:r>
                        <a:rPr lang="de-DE" sz="1600" dirty="0"/>
                        <a:t> 4]</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p>
                    <a:p>
                      <a:pPr marL="285750" indent="-285750">
                        <a:buFont typeface="Arial" panose="020B0604020202020204" pitchFamily="34" charset="0"/>
                        <a:buChar char="•"/>
                      </a:pPr>
                      <a:r>
                        <a:rPr lang="de-DE" sz="1600" dirty="0"/>
                        <a:t>---</a:t>
                      </a: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BT</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600" dirty="0"/>
                        <a:t>EUR</a:t>
                      </a:r>
                      <a:endParaRPr lang="de-AT" sz="1600" dirty="0"/>
                    </a:p>
                    <a:p>
                      <a:pPr algn="r"/>
                      <a:endParaRPr lang="de-AT"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4072644"/>
                  </a:ext>
                </a:extLst>
              </a:tr>
              <a:tr h="603171">
                <a:tc>
                  <a:txBody>
                    <a:bodyPr/>
                    <a:lstStyle/>
                    <a:p>
                      <a:r>
                        <a:rPr lang="de-DE" sz="1600" b="1" dirty="0"/>
                        <a:t>total</a:t>
                      </a:r>
                      <a:endParaRPr lang="de-AT"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endParaRPr lang="de-AT"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r"/>
                      <a:r>
                        <a:rPr lang="de-DE" sz="1600" b="1" dirty="0"/>
                        <a:t>BT</a:t>
                      </a:r>
                      <a:endParaRPr lang="de-AT"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r"/>
                      <a:r>
                        <a:rPr lang="de-DE" sz="1600" b="1" dirty="0"/>
                        <a:t>EUR</a:t>
                      </a:r>
                      <a:endParaRPr lang="de-AT"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178490711"/>
                  </a:ext>
                </a:extLst>
              </a:tr>
            </a:tbl>
          </a:graphicData>
        </a:graphic>
      </p:graphicFrame>
      <p:sp>
        <p:nvSpPr>
          <p:cNvPr id="5" name="Legende mit Linie 1 4">
            <a:extLst>
              <a:ext uri="{FF2B5EF4-FFF2-40B4-BE49-F238E27FC236}">
                <a16:creationId xmlns:a16="http://schemas.microsoft.com/office/drawing/2014/main" id="{E8A2C90A-A79B-4FFE-861A-284E9461BD4C}"/>
              </a:ext>
            </a:extLst>
          </p:cNvPr>
          <p:cNvSpPr/>
          <p:nvPr/>
        </p:nvSpPr>
        <p:spPr>
          <a:xfrm>
            <a:off x="6779172" y="247342"/>
            <a:ext cx="2932386" cy="667783"/>
          </a:xfrm>
          <a:prstGeom prst="rect">
            <a:avLst/>
          </a:prstGeom>
          <a:solidFill>
            <a:srgbClr val="C7FCD0"/>
          </a:solidFill>
          <a:ln w="12700" cap="flat" cmpd="sng" algn="ctr">
            <a:solidFill>
              <a:srgbClr val="333F4C"/>
            </a:solidFill>
            <a:prstDash val="solid"/>
            <a:miter lim="800000"/>
          </a:ln>
          <a:effectLst/>
        </p:spPr>
        <p:txBody>
          <a:bodyPr rtlCol="0" anchor="ctr"/>
          <a:lstStyle/>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Only if the client wants a more in-depth presentation;</a:t>
            </a:r>
          </a:p>
          <a:p>
            <a:pPr marL="285750" marR="0" lvl="0" indent="-285750" defTabSz="914446"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rPr>
              <a:t>Alternatively delete</a:t>
            </a:r>
            <a:endParaRPr kumimoji="0" lang="de-AT" sz="1400" b="0" i="0" u="none" strike="noStrike" kern="0" cap="none" spc="0" normalizeH="0" baseline="0" noProof="0" dirty="0">
              <a:ln>
                <a:noFill/>
              </a:ln>
              <a:solidFill>
                <a:srgbClr val="000000"/>
              </a:solidFill>
              <a:effectLst/>
              <a:uLnTx/>
              <a:uFillTx/>
              <a:latin typeface="Microsoft Sans Serif" panose="020B0604020202020204" pitchFamily="34" charset="0"/>
              <a:ea typeface="Microsoft Sans Serif" panose="020B0604020202020204" pitchFamily="34" charset="0"/>
              <a:cs typeface="Microsoft Sans Serif" panose="020B0604020202020204" pitchFamily="34" charset="0"/>
            </a:endParaRPr>
          </a:p>
        </p:txBody>
      </p:sp>
      <p:sp>
        <p:nvSpPr>
          <p:cNvPr id="3" name="Foliennummernplatzhalter 2">
            <a:extLst>
              <a:ext uri="{FF2B5EF4-FFF2-40B4-BE49-F238E27FC236}">
                <a16:creationId xmlns:a16="http://schemas.microsoft.com/office/drawing/2014/main" id="{691B6563-4EA9-45AF-B76B-8751067BFA16}"/>
              </a:ext>
            </a:extLst>
          </p:cNvPr>
          <p:cNvSpPr>
            <a:spLocks noGrp="1"/>
          </p:cNvSpPr>
          <p:nvPr>
            <p:ph type="sldNum" sz="quarter" idx="13"/>
          </p:nvPr>
        </p:nvSpPr>
        <p:spPr/>
        <p:txBody>
          <a:bodyPr/>
          <a:lstStyle/>
          <a:p>
            <a:fld id="{BA30C15F-51C3-47A6-B763-2B0929D5DF4D}" type="slidenum">
              <a:rPr lang="de-AT" smtClean="0"/>
              <a:t>9</a:t>
            </a:fld>
            <a:endParaRPr lang="de-AT"/>
          </a:p>
        </p:txBody>
      </p:sp>
    </p:spTree>
    <p:extLst>
      <p:ext uri="{BB962C8B-B14F-4D97-AF65-F5344CB8AC3E}">
        <p14:creationId xmlns:p14="http://schemas.microsoft.com/office/powerpoint/2010/main" val="3917096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eDs8D4wyUyzR70VR6nx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Foib1b3UE6NKEtLgx0K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B1W6kMCkUK7I39wY486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w_wrAqTGkuCB3oeTIN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lqQSQ3D7kSLx3Blnvm2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ZGgS65ijUKNZC9T8rrC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IxYQzn1NkCus1lkR.CI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uBIVwFYkUacA.Yo0kPs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QqxWj75jUahgYngw7vX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HMHKfNg2k6_5rCB_I6U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AKN8I_OQkCc.WY5PaSQ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gPj3VVFiEaxADPfmFT8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lqQSQ3D7kSLx3Blnvm2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Et2oTSpZEmkYHhzcJ_O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ROZcsEFBEa.dhriLOaO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fwnJfu1mkyNVC4CxFtA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bdidhYueEmG2SiLAZcv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cOijENa1UiOVtoJ4q8g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tD38x.9qEKTkfT1uiN5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JQo56YDdUKmMSiQQ3_w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OD5gAYjR0esYtHK9h9Z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Aq2cqI4PU61eAtw.X5i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qjQoIvI8ku.RJyh3vMCk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0KKzKU_60K1LlqcgrTx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RJfqgLX7EepYOZmkTbt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5OuJdLYs0CqFRDDDr6w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6q7TfMxEOUfHtRrJhXr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bGb25HotUeXobM.FcOp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aPfbBhaQU.BgwKcZVDE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t7JKkdD_0SqcLxKkWeD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tx2VevUKEqsw.GXZhGf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KM9fblHxUizDcTj4vbj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lBW1zJXnUqw__AB2JbB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743qFgo6kuPNWIZNfs2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RSQdEsPN02cOvJ3cv8.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x.9ppg690G3a.3PKE2q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3WZsk.P.UWCrSdfpYOD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OGZHLW2YE654puz9rlg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UAkXCL9qEqCe223_yez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VjIr5bJUUa4VaGkyu3ax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FJgP928DUe.3rQlSgTE3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n2kzUJgxUGtvp.KYdyl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91E8BFA9-38D6-4B8B-8A1B-9FD90D457255}" vid="{E551BECE-147E-4F38-9188-C41746BDCFFE}"/>
    </a:ext>
  </a:extLst>
</a:theme>
</file>

<file path=ppt/theme/theme2.xml><?xml version="1.0" encoding="utf-8"?>
<a:theme xmlns:a="http://schemas.openxmlformats.org/drawingml/2006/main" name="Titel_und_Inhalt">
  <a:themeElements>
    <a:clrScheme name="Klation">
      <a:dk1>
        <a:srgbClr val="101920"/>
      </a:dk1>
      <a:lt1>
        <a:srgbClr val="FFFFFF"/>
      </a:lt1>
      <a:dk2>
        <a:srgbClr val="101920"/>
      </a:dk2>
      <a:lt2>
        <a:srgbClr val="FFFFFF"/>
      </a:lt2>
      <a:accent1>
        <a:srgbClr val="8FFAA1"/>
      </a:accent1>
      <a:accent2>
        <a:srgbClr val="333F4C"/>
      </a:accent2>
      <a:accent3>
        <a:srgbClr val="FF9E79"/>
      </a:accent3>
      <a:accent4>
        <a:srgbClr val="966E87"/>
      </a:accent4>
      <a:accent5>
        <a:srgbClr val="E31C79"/>
      </a:accent5>
      <a:accent6>
        <a:srgbClr val="E56954"/>
      </a:accent6>
      <a:hlink>
        <a:srgbClr val="48A9C5"/>
      </a:hlink>
      <a:folHlink>
        <a:srgbClr val="9F5CC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91E8BFA9-38D6-4B8B-8A1B-9FD90D457255}" vid="{010C156E-D77B-4573-B819-FDB2148E2737}"/>
    </a:ext>
  </a:extLst>
</a:theme>
</file>

<file path=ppt/theme/theme3.xml><?xml version="1.0" encoding="utf-8"?>
<a:theme xmlns:a="http://schemas.openxmlformats.org/drawingml/2006/main" name="4_Titel_Inhalt_grü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91E8BFA9-38D6-4B8B-8A1B-9FD90D457255}" vid="{D79CEA05-07DD-4384-8F57-E58864900040}"/>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803e3ca-a8a1-48da-a39e-07085f0bb640" xsi:nil="true"/>
    <lcf76f155ced4ddcb4097134ff3c332f xmlns="fbf6546d-5ac4-45db-a013-7aa8608a55af">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B39FDC3B43FC2429067CD6BBAC05721" ma:contentTypeVersion="16" ma:contentTypeDescription="Ein neues Dokument erstellen." ma:contentTypeScope="" ma:versionID="874db92b57a4ce950a18db73ed991527">
  <xsd:schema xmlns:xsd="http://www.w3.org/2001/XMLSchema" xmlns:xs="http://www.w3.org/2001/XMLSchema" xmlns:p="http://schemas.microsoft.com/office/2006/metadata/properties" xmlns:ns2="0803e3ca-a8a1-48da-a39e-07085f0bb640" xmlns:ns3="fbf6546d-5ac4-45db-a013-7aa8608a55af" targetNamespace="http://schemas.microsoft.com/office/2006/metadata/properties" ma:root="true" ma:fieldsID="e7616d798f406cfd313710f2b68fba2e" ns2:_="" ns3:_="">
    <xsd:import namespace="0803e3ca-a8a1-48da-a39e-07085f0bb640"/>
    <xsd:import namespace="fbf6546d-5ac4-45db-a013-7aa8608a55a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LengthInSeconds" minOccurs="0"/>
                <xsd:element ref="ns3:MediaServiceAutoKeyPoints" minOccurs="0"/>
                <xsd:element ref="ns3:MediaServiceKeyPoint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03e3ca-a8a1-48da-a39e-07085f0bb640"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a18b3ad-3f86-4fdf-84eb-cdfe7d4821c2}" ma:internalName="TaxCatchAll" ma:showField="CatchAllData" ma:web="0803e3ca-a8a1-48da-a39e-07085f0bb64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bf6546d-5ac4-45db-a013-7aa8608a55a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b8f6fa22-fe98-4de1-9921-7ba46d4996af"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A44D28-D896-4001-AA8D-17AF53BBC38B}">
  <ds:schemaRefs>
    <ds:schemaRef ds:uri="http://schemas.microsoft.com/sharepoint/v3/contenttype/forms"/>
  </ds:schemaRefs>
</ds:datastoreItem>
</file>

<file path=customXml/itemProps2.xml><?xml version="1.0" encoding="utf-8"?>
<ds:datastoreItem xmlns:ds="http://schemas.openxmlformats.org/officeDocument/2006/customXml" ds:itemID="{632FF78D-0678-43B1-8409-985B4FC8B778}">
  <ds:schemaRefs>
    <ds:schemaRef ds:uri="http://purl.org/dc/dcmitype/"/>
    <ds:schemaRef ds:uri="http://schemas.microsoft.com/office/2006/documentManagement/types"/>
    <ds:schemaRef ds:uri="http://schemas.microsoft.com/office/infopath/2007/PartnerControls"/>
    <ds:schemaRef ds:uri="0803e3ca-a8a1-48da-a39e-07085f0bb640"/>
    <ds:schemaRef ds:uri="http://schemas.openxmlformats.org/package/2006/metadata/core-properties"/>
    <ds:schemaRef ds:uri="fbf6546d-5ac4-45db-a013-7aa8608a55af"/>
    <ds:schemaRef ds:uri="http://purl.org/dc/terms/"/>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D53FDEE4-457A-48CB-BE54-B4EDD7BF13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03e3ca-a8a1-48da-a39e-07085f0bb640"/>
    <ds:schemaRef ds:uri="fbf6546d-5ac4-45db-a013-7aa8608a55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laiton_Vorlage_20220112</Template>
  <TotalTime>0</TotalTime>
  <Words>2270</Words>
  <Application>Microsoft Office PowerPoint</Application>
  <PresentationFormat>Breitbild</PresentationFormat>
  <Paragraphs>464</Paragraphs>
  <Slides>35</Slides>
  <Notes>11</Notes>
  <HiddenSlides>0</HiddenSlides>
  <MMClips>0</MMClips>
  <ScaleCrop>false</ScaleCrop>
  <HeadingPairs>
    <vt:vector size="8" baseType="variant">
      <vt:variant>
        <vt:lpstr>Verwendete Schriftarten</vt:lpstr>
      </vt:variant>
      <vt:variant>
        <vt:i4>11</vt:i4>
      </vt:variant>
      <vt:variant>
        <vt:lpstr>Design</vt:lpstr>
      </vt:variant>
      <vt:variant>
        <vt:i4>3</vt:i4>
      </vt:variant>
      <vt:variant>
        <vt:lpstr>Eingebettete OLE-Server</vt:lpstr>
      </vt:variant>
      <vt:variant>
        <vt:i4>1</vt:i4>
      </vt:variant>
      <vt:variant>
        <vt:lpstr>Folientitel</vt:lpstr>
      </vt:variant>
      <vt:variant>
        <vt:i4>35</vt:i4>
      </vt:variant>
    </vt:vector>
  </HeadingPairs>
  <TitlesOfParts>
    <vt:vector size="50" baseType="lpstr">
      <vt:lpstr>Microsoft GothicNeo</vt:lpstr>
      <vt:lpstr>Arial</vt:lpstr>
      <vt:lpstr>Calibri</vt:lpstr>
      <vt:lpstr>Century</vt:lpstr>
      <vt:lpstr>HaufeMerriweatherSansLt</vt:lpstr>
      <vt:lpstr>Microsoft Sans Serif</vt:lpstr>
      <vt:lpstr>Montserrat Light</vt:lpstr>
      <vt:lpstr>Segoe UI</vt:lpstr>
      <vt:lpstr>Times New Roman</vt:lpstr>
      <vt:lpstr>Wingdings</vt:lpstr>
      <vt:lpstr>Wingdings 2</vt:lpstr>
      <vt:lpstr>Titelfolie</vt:lpstr>
      <vt:lpstr>Titel_und_Inhalt</vt:lpstr>
      <vt:lpstr>4_Titel_Inhalt_grün</vt:lpstr>
      <vt:lpstr>think-cell Slide</vt:lpstr>
      <vt:lpstr>PowerPoint-Präsentation</vt:lpstr>
      <vt:lpstr>PowerPoint-Präsentation</vt:lpstr>
      <vt:lpstr>Overview</vt:lpstr>
      <vt:lpstr>Initial situation &amp; objectives</vt:lpstr>
      <vt:lpstr>Methodological approach</vt:lpstr>
      <vt:lpstr>Roadmap &amp; project plan</vt:lpstr>
      <vt:lpstr>Roadmap &amp; project plan</vt:lpstr>
      <vt:lpstr>Commercials</vt:lpstr>
      <vt:lpstr>Commercials</vt:lpstr>
      <vt:lpstr>Order confirmation</vt:lpstr>
      <vt:lpstr>About Klaiton</vt:lpstr>
      <vt:lpstr>Consultant XY / Project team</vt:lpstr>
      <vt:lpstr>Contacts</vt:lpstr>
      <vt:lpstr>PowerPoint-Präsentation</vt:lpstr>
      <vt:lpstr>Alternate layouts</vt:lpstr>
      <vt:lpstr>GANTT CHART </vt:lpstr>
      <vt:lpstr>Specification</vt:lpstr>
      <vt:lpstr>Shapes  </vt:lpstr>
      <vt:lpstr>Speech bubbles </vt:lpstr>
      <vt:lpstr>Arrows  </vt:lpstr>
      <vt:lpstr>Two text boxes  </vt:lpstr>
      <vt:lpstr>Four text boxes</vt:lpstr>
      <vt:lpstr>Driver trees</vt:lpstr>
      <vt:lpstr>Diagonal boxes</vt:lpstr>
      <vt:lpstr>Chevron table</vt:lpstr>
      <vt:lpstr>Swimlanes</vt:lpstr>
      <vt:lpstr>Generic strategy development framework</vt:lpstr>
      <vt:lpstr>Backward strategic planning framework</vt:lpstr>
      <vt:lpstr>Table with moons</vt:lpstr>
      <vt:lpstr>Germany</vt:lpstr>
      <vt:lpstr>Switzerland &amp; Austria</vt:lpstr>
      <vt:lpstr>Icons</vt:lpstr>
      <vt:lpstr>Image </vt:lpstr>
      <vt:lpstr>Image</vt:lpstr>
      <vt:lpstr>Im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Zeynep Höfferl</dc:creator>
  <cp:lastModifiedBy>Peter Faber</cp:lastModifiedBy>
  <cp:revision>110</cp:revision>
  <dcterms:created xsi:type="dcterms:W3CDTF">2022-01-12T16:47:50Z</dcterms:created>
  <dcterms:modified xsi:type="dcterms:W3CDTF">2023-07-18T07:4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39FDC3B43FC2429067CD6BBAC05721</vt:lpwstr>
  </property>
  <property fmtid="{D5CDD505-2E9C-101B-9397-08002B2CF9AE}" pid="3" name="MediaServiceImageTags">
    <vt:lpwstr/>
  </property>
</Properties>
</file>